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heme/theme3.xml" ContentType="application/vnd.openxmlformats-officedocument.theme+xml"/>
  <Override PartName="/ppt/tags/tag69.xml" ContentType="application/vnd.openxmlformats-officedocument.presentationml.tags+xml"/>
  <Override PartName="/ppt/tags/tag70.xml" ContentType="application/vnd.openxmlformats-officedocument.presentationml.tags+xml"/>
  <Override PartName="/ppt/notesSlides/notesSlide1.xml" ContentType="application/vnd.openxmlformats-officedocument.presentationml.notesSlide+xml"/>
  <Override PartName="/ppt/tags/tag71.xml" ContentType="application/vnd.openxmlformats-officedocument.presentationml.tags+xml"/>
  <Override PartName="/ppt/notesSlides/notesSlide2.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60" r:id="rId2"/>
  </p:sldMasterIdLst>
  <p:notesMasterIdLst>
    <p:notesMasterId r:id="rId14"/>
  </p:notesMasterIdLst>
  <p:sldIdLst>
    <p:sldId id="256" r:id="rId3"/>
    <p:sldId id="676" r:id="rId4"/>
    <p:sldId id="534" r:id="rId5"/>
    <p:sldId id="678" r:id="rId6"/>
    <p:sldId id="679" r:id="rId7"/>
    <p:sldId id="680" r:id="rId8"/>
    <p:sldId id="681" r:id="rId9"/>
    <p:sldId id="682" r:id="rId10"/>
    <p:sldId id="683" r:id="rId11"/>
    <p:sldId id="684" r:id="rId12"/>
    <p:sldId id="685" r:id="rId13"/>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29BA74"/>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8A8AE608-CE4F-47A6-B03F-A67311A32AAF}" v="210" dt="2023-04-04T13:52:09.563"/>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5" autoAdjust="0"/>
    <p:restoredTop sz="94660"/>
  </p:normalViewPr>
  <p:slideViewPr>
    <p:cSldViewPr snapToGrid="0">
      <p:cViewPr varScale="1">
        <p:scale>
          <a:sx n="72" d="100"/>
          <a:sy n="72" d="100"/>
        </p:scale>
        <p:origin x="36" y="48"/>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tableStyles" Target="tableStyles.xml"/><Relationship Id="rId3" Type="http://schemas.openxmlformats.org/officeDocument/2006/relationships/slide" Target="slides/slide1.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theme" Target="theme/theme1.xml"/><Relationship Id="rId2" Type="http://schemas.openxmlformats.org/officeDocument/2006/relationships/slideMaster" Target="slideMasters/slideMaster2.xml"/><Relationship Id="rId16" Type="http://schemas.openxmlformats.org/officeDocument/2006/relationships/viewProps" Target="viewProps.xml"/><Relationship Id="rId20" Type="http://schemas.microsoft.com/office/2015/10/relationships/revisionInfo" Target="revisionInfo.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5" Type="http://schemas.openxmlformats.org/officeDocument/2006/relationships/slide" Target="slides/slide3.xml"/><Relationship Id="rId15" Type="http://schemas.openxmlformats.org/officeDocument/2006/relationships/presProps" Target="presProps.xml"/><Relationship Id="rId10" Type="http://schemas.openxmlformats.org/officeDocument/2006/relationships/slide" Target="slides/slide8.xml"/><Relationship Id="rId19" Type="http://schemas.microsoft.com/office/2016/11/relationships/changesInfo" Target="changesInfos/changesInfo1.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notesMaster" Target="notesMasters/notesMaster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Xu Zhen" userId="2cb4ecb2d6de1f1a" providerId="LiveId" clId="{8A8AE608-CE4F-47A6-B03F-A67311A32AAF}"/>
    <pc:docChg chg="undo redo custSel addSld delSld modSld sldOrd">
      <pc:chgData name="Xu Zhen" userId="2cb4ecb2d6de1f1a" providerId="LiveId" clId="{8A8AE608-CE4F-47A6-B03F-A67311A32AAF}" dt="2023-04-04T14:02:07.229" v="8603" actId="20577"/>
      <pc:docMkLst>
        <pc:docMk/>
      </pc:docMkLst>
      <pc:sldChg chg="addSp modSp mod">
        <pc:chgData name="Xu Zhen" userId="2cb4ecb2d6de1f1a" providerId="LiveId" clId="{8A8AE608-CE4F-47A6-B03F-A67311A32AAF}" dt="2023-04-04T13:15:42.962" v="8505" actId="1076"/>
        <pc:sldMkLst>
          <pc:docMk/>
          <pc:sldMk cId="2895887229" sldId="256"/>
        </pc:sldMkLst>
        <pc:spChg chg="add">
          <ac:chgData name="Xu Zhen" userId="2cb4ecb2d6de1f1a" providerId="LiveId" clId="{8A8AE608-CE4F-47A6-B03F-A67311A32AAF}" dt="2023-04-04T07:16:24.677" v="0"/>
          <ac:spMkLst>
            <pc:docMk/>
            <pc:sldMk cId="2895887229" sldId="256"/>
            <ac:spMk id="4" creationId="{DE104D14-1B2C-7E74-59F3-CB15EF8B6B56}"/>
          </ac:spMkLst>
        </pc:spChg>
        <pc:spChg chg="add mod">
          <ac:chgData name="Xu Zhen" userId="2cb4ecb2d6de1f1a" providerId="LiveId" clId="{8A8AE608-CE4F-47A6-B03F-A67311A32AAF}" dt="2023-04-04T13:15:42.962" v="8505" actId="1076"/>
          <ac:spMkLst>
            <pc:docMk/>
            <pc:sldMk cId="2895887229" sldId="256"/>
            <ac:spMk id="7" creationId="{9FDB6324-8EF4-0716-30F5-789AB2BCF0D1}"/>
          </ac:spMkLst>
        </pc:spChg>
        <pc:picChg chg="add mod">
          <ac:chgData name="Xu Zhen" userId="2cb4ecb2d6de1f1a" providerId="LiveId" clId="{8A8AE608-CE4F-47A6-B03F-A67311A32AAF}" dt="2023-04-04T13:14:31.533" v="8456" actId="14100"/>
          <ac:picMkLst>
            <pc:docMk/>
            <pc:sldMk cId="2895887229" sldId="256"/>
            <ac:picMk id="6" creationId="{BD7035B7-AD30-7A99-0C9A-72A93D6040FB}"/>
          </ac:picMkLst>
        </pc:picChg>
      </pc:sldChg>
      <pc:sldChg chg="addSp delSp modSp add mod">
        <pc:chgData name="Xu Zhen" userId="2cb4ecb2d6de1f1a" providerId="LiveId" clId="{8A8AE608-CE4F-47A6-B03F-A67311A32AAF}" dt="2023-04-04T14:02:07.229" v="8603" actId="20577"/>
        <pc:sldMkLst>
          <pc:docMk/>
          <pc:sldMk cId="2885872551" sldId="534"/>
        </pc:sldMkLst>
        <pc:spChg chg="mod">
          <ac:chgData name="Xu Zhen" userId="2cb4ecb2d6de1f1a" providerId="LiveId" clId="{8A8AE608-CE4F-47A6-B03F-A67311A32AAF}" dt="2023-04-04T07:28:28.455" v="402" actId="1076"/>
          <ac:spMkLst>
            <pc:docMk/>
            <pc:sldMk cId="2885872551" sldId="534"/>
            <ac:spMk id="3" creationId="{00000000-0000-0000-0000-000000000000}"/>
          </ac:spMkLst>
        </pc:spChg>
        <pc:spChg chg="add mod">
          <ac:chgData name="Xu Zhen" userId="2cb4ecb2d6de1f1a" providerId="LiveId" clId="{8A8AE608-CE4F-47A6-B03F-A67311A32AAF}" dt="2023-04-04T14:02:07.229" v="8603" actId="20577"/>
          <ac:spMkLst>
            <pc:docMk/>
            <pc:sldMk cId="2885872551" sldId="534"/>
            <ac:spMk id="5" creationId="{C5B896CC-2C3F-44F9-8F47-2A7AFBFDDACC}"/>
          </ac:spMkLst>
        </pc:spChg>
        <pc:spChg chg="add del mod">
          <ac:chgData name="Xu Zhen" userId="2cb4ecb2d6de1f1a" providerId="LiveId" clId="{8A8AE608-CE4F-47A6-B03F-A67311A32AAF}" dt="2023-04-04T07:31:02.767" v="544" actId="14100"/>
          <ac:spMkLst>
            <pc:docMk/>
            <pc:sldMk cId="2885872551" sldId="534"/>
            <ac:spMk id="6" creationId="{00000000-0000-0000-0000-000000000000}"/>
          </ac:spMkLst>
        </pc:spChg>
        <pc:spChg chg="add del">
          <ac:chgData name="Xu Zhen" userId="2cb4ecb2d6de1f1a" providerId="LiveId" clId="{8A8AE608-CE4F-47A6-B03F-A67311A32AAF}" dt="2023-04-04T07:27:35.624" v="351" actId="478"/>
          <ac:spMkLst>
            <pc:docMk/>
            <pc:sldMk cId="2885872551" sldId="534"/>
            <ac:spMk id="7" creationId="{00000000-0000-0000-0000-000000000000}"/>
          </ac:spMkLst>
        </pc:spChg>
        <pc:spChg chg="add del">
          <ac:chgData name="Xu Zhen" userId="2cb4ecb2d6de1f1a" providerId="LiveId" clId="{8A8AE608-CE4F-47A6-B03F-A67311A32AAF}" dt="2023-04-04T07:27:35.624" v="351" actId="478"/>
          <ac:spMkLst>
            <pc:docMk/>
            <pc:sldMk cId="2885872551" sldId="534"/>
            <ac:spMk id="8" creationId="{00000000-0000-0000-0000-000000000000}"/>
          </ac:spMkLst>
        </pc:spChg>
        <pc:spChg chg="add del">
          <ac:chgData name="Xu Zhen" userId="2cb4ecb2d6de1f1a" providerId="LiveId" clId="{8A8AE608-CE4F-47A6-B03F-A67311A32AAF}" dt="2023-04-04T07:27:35.624" v="351" actId="478"/>
          <ac:spMkLst>
            <pc:docMk/>
            <pc:sldMk cId="2885872551" sldId="534"/>
            <ac:spMk id="9" creationId="{00000000-0000-0000-0000-000000000000}"/>
          </ac:spMkLst>
        </pc:spChg>
        <pc:spChg chg="add mod">
          <ac:chgData name="Xu Zhen" userId="2cb4ecb2d6de1f1a" providerId="LiveId" clId="{8A8AE608-CE4F-47A6-B03F-A67311A32AAF}" dt="2023-04-04T07:28:32.132" v="404" actId="1076"/>
          <ac:spMkLst>
            <pc:docMk/>
            <pc:sldMk cId="2885872551" sldId="534"/>
            <ac:spMk id="10" creationId="{D8600583-F63D-BDB5-ED6A-FFB47E74F175}"/>
          </ac:spMkLst>
        </pc:spChg>
        <pc:spChg chg="add del">
          <ac:chgData name="Xu Zhen" userId="2cb4ecb2d6de1f1a" providerId="LiveId" clId="{8A8AE608-CE4F-47A6-B03F-A67311A32AAF}" dt="2023-04-04T07:27:35.624" v="351" actId="478"/>
          <ac:spMkLst>
            <pc:docMk/>
            <pc:sldMk cId="2885872551" sldId="534"/>
            <ac:spMk id="11" creationId="{00000000-0000-0000-0000-000000000000}"/>
          </ac:spMkLst>
        </pc:spChg>
        <pc:spChg chg="mod topLvl">
          <ac:chgData name="Xu Zhen" userId="2cb4ecb2d6de1f1a" providerId="LiveId" clId="{8A8AE608-CE4F-47A6-B03F-A67311A32AAF}" dt="2023-04-04T07:37:45.171" v="602" actId="1076"/>
          <ac:spMkLst>
            <pc:docMk/>
            <pc:sldMk cId="2885872551" sldId="534"/>
            <ac:spMk id="23" creationId="{3234443F-9827-F7F3-6F7B-6F03E19C541A}"/>
          </ac:spMkLst>
        </pc:spChg>
        <pc:spChg chg="mod topLvl">
          <ac:chgData name="Xu Zhen" userId="2cb4ecb2d6de1f1a" providerId="LiveId" clId="{8A8AE608-CE4F-47A6-B03F-A67311A32AAF}" dt="2023-04-04T07:37:56.656" v="605" actId="688"/>
          <ac:spMkLst>
            <pc:docMk/>
            <pc:sldMk cId="2885872551" sldId="534"/>
            <ac:spMk id="24" creationId="{EC3B7088-1ED8-A69D-16D2-42792C8D279E}"/>
          </ac:spMkLst>
        </pc:spChg>
        <pc:spChg chg="add del">
          <ac:chgData name="Xu Zhen" userId="2cb4ecb2d6de1f1a" providerId="LiveId" clId="{8A8AE608-CE4F-47A6-B03F-A67311A32AAF}" dt="2023-04-04T07:27:35.624" v="351" actId="478"/>
          <ac:spMkLst>
            <pc:docMk/>
            <pc:sldMk cId="2885872551" sldId="534"/>
            <ac:spMk id="86" creationId="{00000000-0000-0000-0000-000000000000}"/>
          </ac:spMkLst>
        </pc:spChg>
        <pc:spChg chg="add del">
          <ac:chgData name="Xu Zhen" userId="2cb4ecb2d6de1f1a" providerId="LiveId" clId="{8A8AE608-CE4F-47A6-B03F-A67311A32AAF}" dt="2023-04-04T07:27:35.624" v="351" actId="478"/>
          <ac:spMkLst>
            <pc:docMk/>
            <pc:sldMk cId="2885872551" sldId="534"/>
            <ac:spMk id="89" creationId="{00000000-0000-0000-0000-000000000000}"/>
          </ac:spMkLst>
        </pc:spChg>
        <pc:spChg chg="add del">
          <ac:chgData name="Xu Zhen" userId="2cb4ecb2d6de1f1a" providerId="LiveId" clId="{8A8AE608-CE4F-47A6-B03F-A67311A32AAF}" dt="2023-04-04T07:27:35.624" v="351" actId="478"/>
          <ac:spMkLst>
            <pc:docMk/>
            <pc:sldMk cId="2885872551" sldId="534"/>
            <ac:spMk id="92" creationId="{00000000-0000-0000-0000-000000000000}"/>
          </ac:spMkLst>
        </pc:spChg>
        <pc:spChg chg="add del">
          <ac:chgData name="Xu Zhen" userId="2cb4ecb2d6de1f1a" providerId="LiveId" clId="{8A8AE608-CE4F-47A6-B03F-A67311A32AAF}" dt="2023-04-04T07:27:35.624" v="351" actId="478"/>
          <ac:spMkLst>
            <pc:docMk/>
            <pc:sldMk cId="2885872551" sldId="534"/>
            <ac:spMk id="95" creationId="{00000000-0000-0000-0000-000000000000}"/>
          </ac:spMkLst>
        </pc:spChg>
        <pc:spChg chg="add del">
          <ac:chgData name="Xu Zhen" userId="2cb4ecb2d6de1f1a" providerId="LiveId" clId="{8A8AE608-CE4F-47A6-B03F-A67311A32AAF}" dt="2023-04-04T07:27:35.624" v="351" actId="478"/>
          <ac:spMkLst>
            <pc:docMk/>
            <pc:sldMk cId="2885872551" sldId="534"/>
            <ac:spMk id="96" creationId="{00000000-0000-0000-0000-000000000000}"/>
          </ac:spMkLst>
        </pc:spChg>
        <pc:spChg chg="add del">
          <ac:chgData name="Xu Zhen" userId="2cb4ecb2d6de1f1a" providerId="LiveId" clId="{8A8AE608-CE4F-47A6-B03F-A67311A32AAF}" dt="2023-04-04T07:27:35.624" v="351" actId="478"/>
          <ac:spMkLst>
            <pc:docMk/>
            <pc:sldMk cId="2885872551" sldId="534"/>
            <ac:spMk id="97" creationId="{00000000-0000-0000-0000-000000000000}"/>
          </ac:spMkLst>
        </pc:spChg>
        <pc:spChg chg="add del">
          <ac:chgData name="Xu Zhen" userId="2cb4ecb2d6de1f1a" providerId="LiveId" clId="{8A8AE608-CE4F-47A6-B03F-A67311A32AAF}" dt="2023-04-04T07:27:35.624" v="351" actId="478"/>
          <ac:spMkLst>
            <pc:docMk/>
            <pc:sldMk cId="2885872551" sldId="534"/>
            <ac:spMk id="98" creationId="{00000000-0000-0000-0000-000000000000}"/>
          </ac:spMkLst>
        </pc:spChg>
        <pc:grpChg chg="add del mod">
          <ac:chgData name="Xu Zhen" userId="2cb4ecb2d6de1f1a" providerId="LiveId" clId="{8A8AE608-CE4F-47A6-B03F-A67311A32AAF}" dt="2023-04-04T07:36:52.150" v="592" actId="165"/>
          <ac:grpSpMkLst>
            <pc:docMk/>
            <pc:sldMk cId="2885872551" sldId="534"/>
            <ac:grpSpMk id="20" creationId="{72E86090-542A-67F0-1192-8903110C21B5}"/>
          </ac:grpSpMkLst>
        </pc:grpChg>
        <pc:grpChg chg="del mod topLvl">
          <ac:chgData name="Xu Zhen" userId="2cb4ecb2d6de1f1a" providerId="LiveId" clId="{8A8AE608-CE4F-47A6-B03F-A67311A32AAF}" dt="2023-04-04T07:37:30.799" v="599" actId="165"/>
          <ac:grpSpMkLst>
            <pc:docMk/>
            <pc:sldMk cId="2885872551" sldId="534"/>
            <ac:grpSpMk id="22" creationId="{FEA366CF-556C-D0FD-0FA8-AE4A6B1C3CD2}"/>
          </ac:grpSpMkLst>
        </pc:grpChg>
        <pc:grpChg chg="add del">
          <ac:chgData name="Xu Zhen" userId="2cb4ecb2d6de1f1a" providerId="LiveId" clId="{8A8AE608-CE4F-47A6-B03F-A67311A32AAF}" dt="2023-04-04T07:27:35.624" v="351" actId="478"/>
          <ac:grpSpMkLst>
            <pc:docMk/>
            <pc:sldMk cId="2885872551" sldId="534"/>
            <ac:grpSpMk id="99" creationId="{00000000-0000-0000-0000-000000000000}"/>
          </ac:grpSpMkLst>
        </pc:grpChg>
        <pc:grpChg chg="add del">
          <ac:chgData name="Xu Zhen" userId="2cb4ecb2d6de1f1a" providerId="LiveId" clId="{8A8AE608-CE4F-47A6-B03F-A67311A32AAF}" dt="2023-04-04T07:27:35.624" v="351" actId="478"/>
          <ac:grpSpMkLst>
            <pc:docMk/>
            <pc:sldMk cId="2885872551" sldId="534"/>
            <ac:grpSpMk id="110" creationId="{00000000-0000-0000-0000-000000000000}"/>
          </ac:grpSpMkLst>
        </pc:grpChg>
        <pc:grpChg chg="add del">
          <ac:chgData name="Xu Zhen" userId="2cb4ecb2d6de1f1a" providerId="LiveId" clId="{8A8AE608-CE4F-47A6-B03F-A67311A32AAF}" dt="2023-04-04T07:27:35.624" v="351" actId="478"/>
          <ac:grpSpMkLst>
            <pc:docMk/>
            <pc:sldMk cId="2885872551" sldId="534"/>
            <ac:grpSpMk id="133" creationId="{00000000-0000-0000-0000-000000000000}"/>
          </ac:grpSpMkLst>
        </pc:grpChg>
        <pc:grpChg chg="add del">
          <ac:chgData name="Xu Zhen" userId="2cb4ecb2d6de1f1a" providerId="LiveId" clId="{8A8AE608-CE4F-47A6-B03F-A67311A32AAF}" dt="2023-04-04T07:27:35.624" v="351" actId="478"/>
          <ac:grpSpMkLst>
            <pc:docMk/>
            <pc:sldMk cId="2885872551" sldId="534"/>
            <ac:grpSpMk id="141" creationId="{00000000-0000-0000-0000-000000000000}"/>
          </ac:grpSpMkLst>
        </pc:grpChg>
        <pc:grpChg chg="add del">
          <ac:chgData name="Xu Zhen" userId="2cb4ecb2d6de1f1a" providerId="LiveId" clId="{8A8AE608-CE4F-47A6-B03F-A67311A32AAF}" dt="2023-04-04T07:27:35.624" v="351" actId="478"/>
          <ac:grpSpMkLst>
            <pc:docMk/>
            <pc:sldMk cId="2885872551" sldId="534"/>
            <ac:grpSpMk id="147" creationId="{00000000-0000-0000-0000-000000000000}"/>
          </ac:grpSpMkLst>
        </pc:grpChg>
        <pc:picChg chg="add mod modCrop">
          <ac:chgData name="Xu Zhen" userId="2cb4ecb2d6de1f1a" providerId="LiveId" clId="{8A8AE608-CE4F-47A6-B03F-A67311A32AAF}" dt="2023-04-04T07:35:03.669" v="577" actId="1038"/>
          <ac:picMkLst>
            <pc:docMk/>
            <pc:sldMk cId="2885872551" sldId="534"/>
            <ac:picMk id="13" creationId="{5B3685BE-6D7E-DE93-AA9A-A7365DE3F259}"/>
          </ac:picMkLst>
        </pc:picChg>
        <pc:picChg chg="add mod">
          <ac:chgData name="Xu Zhen" userId="2cb4ecb2d6de1f1a" providerId="LiveId" clId="{8A8AE608-CE4F-47A6-B03F-A67311A32AAF}" dt="2023-04-04T07:35:43.389" v="581" actId="1076"/>
          <ac:picMkLst>
            <pc:docMk/>
            <pc:sldMk cId="2885872551" sldId="534"/>
            <ac:picMk id="15" creationId="{7726FE2A-3115-203D-F421-6BB86A110046}"/>
          </ac:picMkLst>
        </pc:picChg>
        <pc:picChg chg="add mod">
          <ac:chgData name="Xu Zhen" userId="2cb4ecb2d6de1f1a" providerId="LiveId" clId="{8A8AE608-CE4F-47A6-B03F-A67311A32AAF}" dt="2023-04-04T07:35:03.669" v="577" actId="1038"/>
          <ac:picMkLst>
            <pc:docMk/>
            <pc:sldMk cId="2885872551" sldId="534"/>
            <ac:picMk id="17" creationId="{7A4FCEF1-AABF-51FD-3F7D-7AB0D962DF4D}"/>
          </ac:picMkLst>
        </pc:picChg>
        <pc:picChg chg="add mod">
          <ac:chgData name="Xu Zhen" userId="2cb4ecb2d6de1f1a" providerId="LiveId" clId="{8A8AE608-CE4F-47A6-B03F-A67311A32AAF}" dt="2023-04-04T07:35:03.669" v="577" actId="1038"/>
          <ac:picMkLst>
            <pc:docMk/>
            <pc:sldMk cId="2885872551" sldId="534"/>
            <ac:picMk id="19" creationId="{AC8D2C64-C7A7-F6AD-9B54-7837A74CBE9E}"/>
          </ac:picMkLst>
        </pc:picChg>
        <pc:cxnChg chg="del mod topLvl">
          <ac:chgData name="Xu Zhen" userId="2cb4ecb2d6de1f1a" providerId="LiveId" clId="{8A8AE608-CE4F-47A6-B03F-A67311A32AAF}" dt="2023-04-04T07:38:04.083" v="609" actId="478"/>
          <ac:cxnSpMkLst>
            <pc:docMk/>
            <pc:sldMk cId="2885872551" sldId="534"/>
            <ac:cxnSpMk id="21" creationId="{B7F49F5F-B62E-F45F-6BFD-79A88AB332CE}"/>
          </ac:cxnSpMkLst>
        </pc:cxnChg>
        <pc:cxnChg chg="add del">
          <ac:chgData name="Xu Zhen" userId="2cb4ecb2d6de1f1a" providerId="LiveId" clId="{8A8AE608-CE4F-47A6-B03F-A67311A32AAF}" dt="2023-04-04T07:27:35.624" v="351" actId="478"/>
          <ac:cxnSpMkLst>
            <pc:docMk/>
            <pc:sldMk cId="2885872551" sldId="534"/>
            <ac:cxnSpMk id="77" creationId="{00000000-0000-0000-0000-000000000000}"/>
          </ac:cxnSpMkLst>
        </pc:cxnChg>
        <pc:cxnChg chg="add del">
          <ac:chgData name="Xu Zhen" userId="2cb4ecb2d6de1f1a" providerId="LiveId" clId="{8A8AE608-CE4F-47A6-B03F-A67311A32AAF}" dt="2023-04-04T07:27:35.624" v="351" actId="478"/>
          <ac:cxnSpMkLst>
            <pc:docMk/>
            <pc:sldMk cId="2885872551" sldId="534"/>
            <ac:cxnSpMk id="82" creationId="{00000000-0000-0000-0000-000000000000}"/>
          </ac:cxnSpMkLst>
        </pc:cxnChg>
        <pc:cxnChg chg="add del">
          <ac:chgData name="Xu Zhen" userId="2cb4ecb2d6de1f1a" providerId="LiveId" clId="{8A8AE608-CE4F-47A6-B03F-A67311A32AAF}" dt="2023-04-04T07:27:35.624" v="351" actId="478"/>
          <ac:cxnSpMkLst>
            <pc:docMk/>
            <pc:sldMk cId="2885872551" sldId="534"/>
            <ac:cxnSpMk id="83" creationId="{00000000-0000-0000-0000-000000000000}"/>
          </ac:cxnSpMkLst>
        </pc:cxnChg>
        <pc:cxnChg chg="add del">
          <ac:chgData name="Xu Zhen" userId="2cb4ecb2d6de1f1a" providerId="LiveId" clId="{8A8AE608-CE4F-47A6-B03F-A67311A32AAF}" dt="2023-04-04T07:27:35.624" v="351" actId="478"/>
          <ac:cxnSpMkLst>
            <pc:docMk/>
            <pc:sldMk cId="2885872551" sldId="534"/>
            <ac:cxnSpMk id="84" creationId="{00000000-0000-0000-0000-000000000000}"/>
          </ac:cxnSpMkLst>
        </pc:cxnChg>
        <pc:cxnChg chg="add del">
          <ac:chgData name="Xu Zhen" userId="2cb4ecb2d6de1f1a" providerId="LiveId" clId="{8A8AE608-CE4F-47A6-B03F-A67311A32AAF}" dt="2023-04-04T07:27:35.624" v="351" actId="478"/>
          <ac:cxnSpMkLst>
            <pc:docMk/>
            <pc:sldMk cId="2885872551" sldId="534"/>
            <ac:cxnSpMk id="87" creationId="{00000000-0000-0000-0000-000000000000}"/>
          </ac:cxnSpMkLst>
        </pc:cxnChg>
        <pc:cxnChg chg="add del">
          <ac:chgData name="Xu Zhen" userId="2cb4ecb2d6de1f1a" providerId="LiveId" clId="{8A8AE608-CE4F-47A6-B03F-A67311A32AAF}" dt="2023-04-04T07:27:35.624" v="351" actId="478"/>
          <ac:cxnSpMkLst>
            <pc:docMk/>
            <pc:sldMk cId="2885872551" sldId="534"/>
            <ac:cxnSpMk id="90" creationId="{00000000-0000-0000-0000-000000000000}"/>
          </ac:cxnSpMkLst>
        </pc:cxnChg>
        <pc:cxnChg chg="add del">
          <ac:chgData name="Xu Zhen" userId="2cb4ecb2d6de1f1a" providerId="LiveId" clId="{8A8AE608-CE4F-47A6-B03F-A67311A32AAF}" dt="2023-04-04T07:27:35.624" v="351" actId="478"/>
          <ac:cxnSpMkLst>
            <pc:docMk/>
            <pc:sldMk cId="2885872551" sldId="534"/>
            <ac:cxnSpMk id="93" creationId="{00000000-0000-0000-0000-000000000000}"/>
          </ac:cxnSpMkLst>
        </pc:cxnChg>
      </pc:sldChg>
      <pc:sldChg chg="modSp mod">
        <pc:chgData name="Xu Zhen" userId="2cb4ecb2d6de1f1a" providerId="LiveId" clId="{8A8AE608-CE4F-47A6-B03F-A67311A32AAF}" dt="2023-04-04T13:12:03.775" v="8452" actId="20577"/>
        <pc:sldMkLst>
          <pc:docMk/>
          <pc:sldMk cId="1151319172" sldId="676"/>
        </pc:sldMkLst>
        <pc:spChg chg="mod">
          <ac:chgData name="Xu Zhen" userId="2cb4ecb2d6de1f1a" providerId="LiveId" clId="{8A8AE608-CE4F-47A6-B03F-A67311A32AAF}" dt="2023-04-04T07:17:48.402" v="1" actId="1076"/>
          <ac:spMkLst>
            <pc:docMk/>
            <pc:sldMk cId="1151319172" sldId="676"/>
            <ac:spMk id="4" creationId="{00000000-0000-0000-0000-000000000000}"/>
          </ac:spMkLst>
        </pc:spChg>
        <pc:spChg chg="mod">
          <ac:chgData name="Xu Zhen" userId="2cb4ecb2d6de1f1a" providerId="LiveId" clId="{8A8AE608-CE4F-47A6-B03F-A67311A32AAF}" dt="2023-04-04T07:17:48.402" v="1" actId="1076"/>
          <ac:spMkLst>
            <pc:docMk/>
            <pc:sldMk cId="1151319172" sldId="676"/>
            <ac:spMk id="5" creationId="{568301FD-FCE7-4388-B012-9F2B235DE97D}"/>
          </ac:spMkLst>
        </pc:spChg>
        <pc:spChg chg="mod">
          <ac:chgData name="Xu Zhen" userId="2cb4ecb2d6de1f1a" providerId="LiveId" clId="{8A8AE608-CE4F-47A6-B03F-A67311A32AAF}" dt="2023-04-04T07:17:48.402" v="1" actId="1076"/>
          <ac:spMkLst>
            <pc:docMk/>
            <pc:sldMk cId="1151319172" sldId="676"/>
            <ac:spMk id="11" creationId="{44096BA6-2BD9-9185-CBE8-9E5542ECA72F}"/>
          </ac:spMkLst>
        </pc:spChg>
        <pc:spChg chg="mod">
          <ac:chgData name="Xu Zhen" userId="2cb4ecb2d6de1f1a" providerId="LiveId" clId="{8A8AE608-CE4F-47A6-B03F-A67311A32AAF}" dt="2023-04-04T07:17:48.402" v="1" actId="1076"/>
          <ac:spMkLst>
            <pc:docMk/>
            <pc:sldMk cId="1151319172" sldId="676"/>
            <ac:spMk id="12" creationId="{0FF88AFD-4BEA-1361-F083-1D82E136AA28}"/>
          </ac:spMkLst>
        </pc:spChg>
        <pc:spChg chg="mod">
          <ac:chgData name="Xu Zhen" userId="2cb4ecb2d6de1f1a" providerId="LiveId" clId="{8A8AE608-CE4F-47A6-B03F-A67311A32AAF}" dt="2023-04-04T07:17:48.402" v="1" actId="1076"/>
          <ac:spMkLst>
            <pc:docMk/>
            <pc:sldMk cId="1151319172" sldId="676"/>
            <ac:spMk id="13" creationId="{449B24BE-50ED-F1CC-A959-6729182CF289}"/>
          </ac:spMkLst>
        </pc:spChg>
        <pc:spChg chg="mod">
          <ac:chgData name="Xu Zhen" userId="2cb4ecb2d6de1f1a" providerId="LiveId" clId="{8A8AE608-CE4F-47A6-B03F-A67311A32AAF}" dt="2023-04-04T07:17:48.402" v="1" actId="1076"/>
          <ac:spMkLst>
            <pc:docMk/>
            <pc:sldMk cId="1151319172" sldId="676"/>
            <ac:spMk id="15" creationId="{7EB16BC1-9850-CB59-AAFD-93F05B31A18C}"/>
          </ac:spMkLst>
        </pc:spChg>
        <pc:spChg chg="mod">
          <ac:chgData name="Xu Zhen" userId="2cb4ecb2d6de1f1a" providerId="LiveId" clId="{8A8AE608-CE4F-47A6-B03F-A67311A32AAF}" dt="2023-04-04T07:17:48.402" v="1" actId="1076"/>
          <ac:spMkLst>
            <pc:docMk/>
            <pc:sldMk cId="1151319172" sldId="676"/>
            <ac:spMk id="16" creationId="{F6E4DC9F-0D78-4AD8-64B3-18728D678D28}"/>
          </ac:spMkLst>
        </pc:spChg>
        <pc:spChg chg="mod">
          <ac:chgData name="Xu Zhen" userId="2cb4ecb2d6de1f1a" providerId="LiveId" clId="{8A8AE608-CE4F-47A6-B03F-A67311A32AAF}" dt="2023-04-04T07:17:48.402" v="1" actId="1076"/>
          <ac:spMkLst>
            <pc:docMk/>
            <pc:sldMk cId="1151319172" sldId="676"/>
            <ac:spMk id="17" creationId="{038E1E4D-2B60-DB5E-17FF-D46D37E8B43A}"/>
          </ac:spMkLst>
        </pc:spChg>
        <pc:spChg chg="mod">
          <ac:chgData name="Xu Zhen" userId="2cb4ecb2d6de1f1a" providerId="LiveId" clId="{8A8AE608-CE4F-47A6-B03F-A67311A32AAF}" dt="2023-04-04T07:17:48.402" v="1" actId="1076"/>
          <ac:spMkLst>
            <pc:docMk/>
            <pc:sldMk cId="1151319172" sldId="676"/>
            <ac:spMk id="18" creationId="{559C676F-30B7-5FB4-865B-1E46D540DB85}"/>
          </ac:spMkLst>
        </pc:spChg>
        <pc:spChg chg="mod">
          <ac:chgData name="Xu Zhen" userId="2cb4ecb2d6de1f1a" providerId="LiveId" clId="{8A8AE608-CE4F-47A6-B03F-A67311A32AAF}" dt="2023-04-04T07:17:48.402" v="1" actId="1076"/>
          <ac:spMkLst>
            <pc:docMk/>
            <pc:sldMk cId="1151319172" sldId="676"/>
            <ac:spMk id="19" creationId="{CF7C211A-22F0-2EA4-47B7-0A20CC338A08}"/>
          </ac:spMkLst>
        </pc:spChg>
        <pc:spChg chg="mod">
          <ac:chgData name="Xu Zhen" userId="2cb4ecb2d6de1f1a" providerId="LiveId" clId="{8A8AE608-CE4F-47A6-B03F-A67311A32AAF}" dt="2023-04-04T07:17:48.402" v="1" actId="1076"/>
          <ac:spMkLst>
            <pc:docMk/>
            <pc:sldMk cId="1151319172" sldId="676"/>
            <ac:spMk id="21" creationId="{B9ED96B0-BB9E-ACEE-CE99-EC9172440556}"/>
          </ac:spMkLst>
        </pc:spChg>
        <pc:spChg chg="mod">
          <ac:chgData name="Xu Zhen" userId="2cb4ecb2d6de1f1a" providerId="LiveId" clId="{8A8AE608-CE4F-47A6-B03F-A67311A32AAF}" dt="2023-04-04T07:17:48.402" v="1" actId="1076"/>
          <ac:spMkLst>
            <pc:docMk/>
            <pc:sldMk cId="1151319172" sldId="676"/>
            <ac:spMk id="23" creationId="{ABECF8C5-4E47-CEE6-0E3F-165FDC4F25FE}"/>
          </ac:spMkLst>
        </pc:spChg>
        <pc:spChg chg="mod">
          <ac:chgData name="Xu Zhen" userId="2cb4ecb2d6de1f1a" providerId="LiveId" clId="{8A8AE608-CE4F-47A6-B03F-A67311A32AAF}" dt="2023-04-04T07:17:48.402" v="1" actId="1076"/>
          <ac:spMkLst>
            <pc:docMk/>
            <pc:sldMk cId="1151319172" sldId="676"/>
            <ac:spMk id="24" creationId="{61BAC7CD-22C5-F3E1-74EB-EFE0297F2448}"/>
          </ac:spMkLst>
        </pc:spChg>
        <pc:spChg chg="mod">
          <ac:chgData name="Xu Zhen" userId="2cb4ecb2d6de1f1a" providerId="LiveId" clId="{8A8AE608-CE4F-47A6-B03F-A67311A32AAF}" dt="2023-04-04T07:17:48.402" v="1" actId="1076"/>
          <ac:spMkLst>
            <pc:docMk/>
            <pc:sldMk cId="1151319172" sldId="676"/>
            <ac:spMk id="32" creationId="{06674048-AA5C-CF6C-B60C-27ED52818FF0}"/>
          </ac:spMkLst>
        </pc:spChg>
        <pc:spChg chg="mod">
          <ac:chgData name="Xu Zhen" userId="2cb4ecb2d6de1f1a" providerId="LiveId" clId="{8A8AE608-CE4F-47A6-B03F-A67311A32AAF}" dt="2023-04-04T07:17:48.402" v="1" actId="1076"/>
          <ac:spMkLst>
            <pc:docMk/>
            <pc:sldMk cId="1151319172" sldId="676"/>
            <ac:spMk id="36" creationId="{CB6FC408-2BCA-84EA-0F8E-032C09647B5D}"/>
          </ac:spMkLst>
        </pc:spChg>
        <pc:spChg chg="mod">
          <ac:chgData name="Xu Zhen" userId="2cb4ecb2d6de1f1a" providerId="LiveId" clId="{8A8AE608-CE4F-47A6-B03F-A67311A32AAF}" dt="2023-04-04T07:17:48.402" v="1" actId="1076"/>
          <ac:spMkLst>
            <pc:docMk/>
            <pc:sldMk cId="1151319172" sldId="676"/>
            <ac:spMk id="39" creationId="{67C39E41-DC58-8C0E-9A12-2AE122213094}"/>
          </ac:spMkLst>
        </pc:spChg>
        <pc:spChg chg="mod">
          <ac:chgData name="Xu Zhen" userId="2cb4ecb2d6de1f1a" providerId="LiveId" clId="{8A8AE608-CE4F-47A6-B03F-A67311A32AAF}" dt="2023-04-04T07:17:48.402" v="1" actId="1076"/>
          <ac:spMkLst>
            <pc:docMk/>
            <pc:sldMk cId="1151319172" sldId="676"/>
            <ac:spMk id="41" creationId="{00000000-0000-0000-0000-000000000000}"/>
          </ac:spMkLst>
        </pc:spChg>
        <pc:spChg chg="mod">
          <ac:chgData name="Xu Zhen" userId="2cb4ecb2d6de1f1a" providerId="LiveId" clId="{8A8AE608-CE4F-47A6-B03F-A67311A32AAF}" dt="2023-04-04T07:17:48.402" v="1" actId="1076"/>
          <ac:spMkLst>
            <pc:docMk/>
            <pc:sldMk cId="1151319172" sldId="676"/>
            <ac:spMk id="43" creationId="{00000000-0000-0000-0000-000000000000}"/>
          </ac:spMkLst>
        </pc:spChg>
        <pc:spChg chg="mod">
          <ac:chgData name="Xu Zhen" userId="2cb4ecb2d6de1f1a" providerId="LiveId" clId="{8A8AE608-CE4F-47A6-B03F-A67311A32AAF}" dt="2023-04-04T07:17:48.402" v="1" actId="1076"/>
          <ac:spMkLst>
            <pc:docMk/>
            <pc:sldMk cId="1151319172" sldId="676"/>
            <ac:spMk id="44" creationId="{00000000-0000-0000-0000-000000000000}"/>
          </ac:spMkLst>
        </pc:spChg>
        <pc:spChg chg="mod">
          <ac:chgData name="Xu Zhen" userId="2cb4ecb2d6de1f1a" providerId="LiveId" clId="{8A8AE608-CE4F-47A6-B03F-A67311A32AAF}" dt="2023-04-04T07:17:48.402" v="1" actId="1076"/>
          <ac:spMkLst>
            <pc:docMk/>
            <pc:sldMk cId="1151319172" sldId="676"/>
            <ac:spMk id="45" creationId="{00000000-0000-0000-0000-000000000000}"/>
          </ac:spMkLst>
        </pc:spChg>
        <pc:spChg chg="mod">
          <ac:chgData name="Xu Zhen" userId="2cb4ecb2d6de1f1a" providerId="LiveId" clId="{8A8AE608-CE4F-47A6-B03F-A67311A32AAF}" dt="2023-04-04T13:12:03.775" v="8452" actId="20577"/>
          <ac:spMkLst>
            <pc:docMk/>
            <pc:sldMk cId="1151319172" sldId="676"/>
            <ac:spMk id="46" creationId="{102B6C1B-9D35-C265-C6A3-56860C3B3C27}"/>
          </ac:spMkLst>
        </pc:spChg>
        <pc:grpChg chg="mod">
          <ac:chgData name="Xu Zhen" userId="2cb4ecb2d6de1f1a" providerId="LiveId" clId="{8A8AE608-CE4F-47A6-B03F-A67311A32AAF}" dt="2023-04-04T07:17:48.402" v="1" actId="1076"/>
          <ac:grpSpMkLst>
            <pc:docMk/>
            <pc:sldMk cId="1151319172" sldId="676"/>
            <ac:grpSpMk id="10" creationId="{15CB4E6B-6846-F342-9F33-E4B3AF6B1BB5}"/>
          </ac:grpSpMkLst>
        </pc:grpChg>
        <pc:grpChg chg="mod">
          <ac:chgData name="Xu Zhen" userId="2cb4ecb2d6de1f1a" providerId="LiveId" clId="{8A8AE608-CE4F-47A6-B03F-A67311A32AAF}" dt="2023-04-04T07:17:48.402" v="1" actId="1076"/>
          <ac:grpSpMkLst>
            <pc:docMk/>
            <pc:sldMk cId="1151319172" sldId="676"/>
            <ac:grpSpMk id="14" creationId="{FD694682-117A-E69D-9654-8C15AFCA7700}"/>
          </ac:grpSpMkLst>
        </pc:grpChg>
        <pc:grpChg chg="mod">
          <ac:chgData name="Xu Zhen" userId="2cb4ecb2d6de1f1a" providerId="LiveId" clId="{8A8AE608-CE4F-47A6-B03F-A67311A32AAF}" dt="2023-04-04T07:17:48.402" v="1" actId="1076"/>
          <ac:grpSpMkLst>
            <pc:docMk/>
            <pc:sldMk cId="1151319172" sldId="676"/>
            <ac:grpSpMk id="20" creationId="{1F82B91E-4CC8-9AB3-423D-C532AB994698}"/>
          </ac:grpSpMkLst>
        </pc:grpChg>
        <pc:grpChg chg="mod">
          <ac:chgData name="Xu Zhen" userId="2cb4ecb2d6de1f1a" providerId="LiveId" clId="{8A8AE608-CE4F-47A6-B03F-A67311A32AAF}" dt="2023-04-04T07:17:48.402" v="1" actId="1076"/>
          <ac:grpSpMkLst>
            <pc:docMk/>
            <pc:sldMk cId="1151319172" sldId="676"/>
            <ac:grpSpMk id="33" creationId="{00000000-0000-0000-0000-000000000000}"/>
          </ac:grpSpMkLst>
        </pc:grpChg>
        <pc:cxnChg chg="mod">
          <ac:chgData name="Xu Zhen" userId="2cb4ecb2d6de1f1a" providerId="LiveId" clId="{8A8AE608-CE4F-47A6-B03F-A67311A32AAF}" dt="2023-04-04T07:17:48.402" v="1" actId="1076"/>
          <ac:cxnSpMkLst>
            <pc:docMk/>
            <pc:sldMk cId="1151319172" sldId="676"/>
            <ac:cxnSpMk id="22" creationId="{00000000-0000-0000-0000-000000000000}"/>
          </ac:cxnSpMkLst>
        </pc:cxnChg>
        <pc:cxnChg chg="mod">
          <ac:chgData name="Xu Zhen" userId="2cb4ecb2d6de1f1a" providerId="LiveId" clId="{8A8AE608-CE4F-47A6-B03F-A67311A32AAF}" dt="2023-04-04T07:17:48.402" v="1" actId="1076"/>
          <ac:cxnSpMkLst>
            <pc:docMk/>
            <pc:sldMk cId="1151319172" sldId="676"/>
            <ac:cxnSpMk id="34" creationId="{00000000-0000-0000-0000-000000000000}"/>
          </ac:cxnSpMkLst>
        </pc:cxnChg>
        <pc:cxnChg chg="mod">
          <ac:chgData name="Xu Zhen" userId="2cb4ecb2d6de1f1a" providerId="LiveId" clId="{8A8AE608-CE4F-47A6-B03F-A67311A32AAF}" dt="2023-04-04T07:17:48.402" v="1" actId="1076"/>
          <ac:cxnSpMkLst>
            <pc:docMk/>
            <pc:sldMk cId="1151319172" sldId="676"/>
            <ac:cxnSpMk id="35" creationId="{00000000-0000-0000-0000-000000000000}"/>
          </ac:cxnSpMkLst>
        </pc:cxnChg>
        <pc:cxnChg chg="mod">
          <ac:chgData name="Xu Zhen" userId="2cb4ecb2d6de1f1a" providerId="LiveId" clId="{8A8AE608-CE4F-47A6-B03F-A67311A32AAF}" dt="2023-04-04T07:17:48.402" v="1" actId="1076"/>
          <ac:cxnSpMkLst>
            <pc:docMk/>
            <pc:sldMk cId="1151319172" sldId="676"/>
            <ac:cxnSpMk id="76" creationId="{00000000-0000-0000-0000-000000000000}"/>
          </ac:cxnSpMkLst>
        </pc:cxnChg>
      </pc:sldChg>
      <pc:sldChg chg="addSp modSp new del mod">
        <pc:chgData name="Xu Zhen" userId="2cb4ecb2d6de1f1a" providerId="LiveId" clId="{8A8AE608-CE4F-47A6-B03F-A67311A32AAF}" dt="2023-04-04T09:47:06.263" v="4912" actId="47"/>
        <pc:sldMkLst>
          <pc:docMk/>
          <pc:sldMk cId="2945023394" sldId="677"/>
        </pc:sldMkLst>
        <pc:spChg chg="mod">
          <ac:chgData name="Xu Zhen" userId="2cb4ecb2d6de1f1a" providerId="LiveId" clId="{8A8AE608-CE4F-47A6-B03F-A67311A32AAF}" dt="2023-04-04T07:18:04.015" v="16" actId="20577"/>
          <ac:spMkLst>
            <pc:docMk/>
            <pc:sldMk cId="2945023394" sldId="677"/>
            <ac:spMk id="2" creationId="{4A16D004-53ED-8267-8807-A7F58AF44DEA}"/>
          </ac:spMkLst>
        </pc:spChg>
        <pc:spChg chg="add mod">
          <ac:chgData name="Xu Zhen" userId="2cb4ecb2d6de1f1a" providerId="LiveId" clId="{8A8AE608-CE4F-47A6-B03F-A67311A32AAF}" dt="2023-04-04T07:23:37.400" v="324" actId="20577"/>
          <ac:spMkLst>
            <pc:docMk/>
            <pc:sldMk cId="2945023394" sldId="677"/>
            <ac:spMk id="3" creationId="{33593FF4-134C-431F-80AD-567614518F50}"/>
          </ac:spMkLst>
        </pc:spChg>
      </pc:sldChg>
      <pc:sldChg chg="addSp delSp modSp new mod ord">
        <pc:chgData name="Xu Zhen" userId="2cb4ecb2d6de1f1a" providerId="LiveId" clId="{8A8AE608-CE4F-47A6-B03F-A67311A32AAF}" dt="2023-04-04T13:57:58.705" v="8599" actId="20577"/>
        <pc:sldMkLst>
          <pc:docMk/>
          <pc:sldMk cId="2528843620" sldId="678"/>
        </pc:sldMkLst>
        <pc:spChg chg="mod">
          <ac:chgData name="Xu Zhen" userId="2cb4ecb2d6de1f1a" providerId="LiveId" clId="{8A8AE608-CE4F-47A6-B03F-A67311A32AAF}" dt="2023-04-04T07:42:27.835" v="628" actId="20577"/>
          <ac:spMkLst>
            <pc:docMk/>
            <pc:sldMk cId="2528843620" sldId="678"/>
            <ac:spMk id="2" creationId="{5B22D96A-FA7C-D8F4-1022-F54CDFAFBEB1}"/>
          </ac:spMkLst>
        </pc:spChg>
        <pc:spChg chg="add mod">
          <ac:chgData name="Xu Zhen" userId="2cb4ecb2d6de1f1a" providerId="LiveId" clId="{8A8AE608-CE4F-47A6-B03F-A67311A32AAF}" dt="2023-04-04T08:44:08.058" v="2939" actId="20577"/>
          <ac:spMkLst>
            <pc:docMk/>
            <pc:sldMk cId="2528843620" sldId="678"/>
            <ac:spMk id="13" creationId="{000DE64D-B401-CCDD-4814-FC9760802CE3}"/>
          </ac:spMkLst>
        </pc:spChg>
        <pc:spChg chg="add mod">
          <ac:chgData name="Xu Zhen" userId="2cb4ecb2d6de1f1a" providerId="LiveId" clId="{8A8AE608-CE4F-47A6-B03F-A67311A32AAF}" dt="2023-04-04T08:02:31.979" v="1693" actId="1076"/>
          <ac:spMkLst>
            <pc:docMk/>
            <pc:sldMk cId="2528843620" sldId="678"/>
            <ac:spMk id="14" creationId="{357A0BB7-27FB-5FBB-8BFD-9B1FD95CDF38}"/>
          </ac:spMkLst>
        </pc:spChg>
        <pc:spChg chg="add del mod">
          <ac:chgData name="Xu Zhen" userId="2cb4ecb2d6de1f1a" providerId="LiveId" clId="{8A8AE608-CE4F-47A6-B03F-A67311A32AAF}" dt="2023-04-04T07:49:15.081" v="725"/>
          <ac:spMkLst>
            <pc:docMk/>
            <pc:sldMk cId="2528843620" sldId="678"/>
            <ac:spMk id="15" creationId="{D3806285-C9A2-32AE-7458-FCADA80623A6}"/>
          </ac:spMkLst>
        </pc:spChg>
        <pc:spChg chg="add mod">
          <ac:chgData name="Xu Zhen" userId="2cb4ecb2d6de1f1a" providerId="LiveId" clId="{8A8AE608-CE4F-47A6-B03F-A67311A32AAF}" dt="2023-04-04T13:57:58.705" v="8599" actId="20577"/>
          <ac:spMkLst>
            <pc:docMk/>
            <pc:sldMk cId="2528843620" sldId="678"/>
            <ac:spMk id="16" creationId="{55E71E00-A7DB-CD8A-A290-EC8846F026BA}"/>
          </ac:spMkLst>
        </pc:spChg>
        <pc:spChg chg="add mod">
          <ac:chgData name="Xu Zhen" userId="2cb4ecb2d6de1f1a" providerId="LiveId" clId="{8A8AE608-CE4F-47A6-B03F-A67311A32AAF}" dt="2023-04-04T13:52:19.776" v="8544" actId="20577"/>
          <ac:spMkLst>
            <pc:docMk/>
            <pc:sldMk cId="2528843620" sldId="678"/>
            <ac:spMk id="17" creationId="{788AC627-649C-31E1-4A57-72B868A078DE}"/>
          </ac:spMkLst>
        </pc:spChg>
        <pc:picChg chg="add mod">
          <ac:chgData name="Xu Zhen" userId="2cb4ecb2d6de1f1a" providerId="LiveId" clId="{8A8AE608-CE4F-47A6-B03F-A67311A32AAF}" dt="2023-04-04T08:02:26.534" v="1691" actId="1076"/>
          <ac:picMkLst>
            <pc:docMk/>
            <pc:sldMk cId="2528843620" sldId="678"/>
            <ac:picMk id="4" creationId="{0803F5EC-B9B5-BB13-5516-844662BAAE66}"/>
          </ac:picMkLst>
        </pc:picChg>
        <pc:picChg chg="add mod">
          <ac:chgData name="Xu Zhen" userId="2cb4ecb2d6de1f1a" providerId="LiveId" clId="{8A8AE608-CE4F-47A6-B03F-A67311A32AAF}" dt="2023-04-04T08:02:44.107" v="1696" actId="1076"/>
          <ac:picMkLst>
            <pc:docMk/>
            <pc:sldMk cId="2528843620" sldId="678"/>
            <ac:picMk id="6" creationId="{1F47ACB1-1C38-5366-AD47-2F0AA293A53A}"/>
          </ac:picMkLst>
        </pc:picChg>
        <pc:picChg chg="add mod">
          <ac:chgData name="Xu Zhen" userId="2cb4ecb2d6de1f1a" providerId="LiveId" clId="{8A8AE608-CE4F-47A6-B03F-A67311A32AAF}" dt="2023-04-04T08:02:31.979" v="1693" actId="1076"/>
          <ac:picMkLst>
            <pc:docMk/>
            <pc:sldMk cId="2528843620" sldId="678"/>
            <ac:picMk id="12" creationId="{8D4F2FB9-6DFB-86B5-FF73-A36367F76CB9}"/>
          </ac:picMkLst>
        </pc:picChg>
        <pc:cxnChg chg="add mod">
          <ac:chgData name="Xu Zhen" userId="2cb4ecb2d6de1f1a" providerId="LiveId" clId="{8A8AE608-CE4F-47A6-B03F-A67311A32AAF}" dt="2023-04-04T08:02:28.891" v="1692" actId="1076"/>
          <ac:cxnSpMkLst>
            <pc:docMk/>
            <pc:sldMk cId="2528843620" sldId="678"/>
            <ac:cxnSpMk id="7" creationId="{25E1BE30-4BC6-11F5-4C31-4DE65A8F9198}"/>
          </ac:cxnSpMkLst>
        </pc:cxnChg>
      </pc:sldChg>
      <pc:sldChg chg="addSp modSp new mod">
        <pc:chgData name="Xu Zhen" userId="2cb4ecb2d6de1f1a" providerId="LiveId" clId="{8A8AE608-CE4F-47A6-B03F-A67311A32AAF}" dt="2023-04-04T08:48:54.350" v="3044" actId="1035"/>
        <pc:sldMkLst>
          <pc:docMk/>
          <pc:sldMk cId="1302606648" sldId="679"/>
        </pc:sldMkLst>
        <pc:spChg chg="mod">
          <ac:chgData name="Xu Zhen" userId="2cb4ecb2d6de1f1a" providerId="LiveId" clId="{8A8AE608-CE4F-47A6-B03F-A67311A32AAF}" dt="2023-04-04T08:04:09.379" v="1732" actId="20577"/>
          <ac:spMkLst>
            <pc:docMk/>
            <pc:sldMk cId="1302606648" sldId="679"/>
            <ac:spMk id="2" creationId="{11ECC811-2C87-053E-7143-6B79AA0FFDAC}"/>
          </ac:spMkLst>
        </pc:spChg>
        <pc:spChg chg="add mod">
          <ac:chgData name="Xu Zhen" userId="2cb4ecb2d6de1f1a" providerId="LiveId" clId="{8A8AE608-CE4F-47A6-B03F-A67311A32AAF}" dt="2023-04-04T08:42:28.731" v="2880" actId="20577"/>
          <ac:spMkLst>
            <pc:docMk/>
            <pc:sldMk cId="1302606648" sldId="679"/>
            <ac:spMk id="3" creationId="{465BB4C6-6C18-6BA8-84D4-562A128F8566}"/>
          </ac:spMkLst>
        </pc:spChg>
        <pc:spChg chg="add mod">
          <ac:chgData name="Xu Zhen" userId="2cb4ecb2d6de1f1a" providerId="LiveId" clId="{8A8AE608-CE4F-47A6-B03F-A67311A32AAF}" dt="2023-04-04T08:25:21.511" v="2462" actId="1076"/>
          <ac:spMkLst>
            <pc:docMk/>
            <pc:sldMk cId="1302606648" sldId="679"/>
            <ac:spMk id="4" creationId="{0140049A-3384-8FDD-DE06-A286A3E58E48}"/>
          </ac:spMkLst>
        </pc:spChg>
        <pc:spChg chg="add mod">
          <ac:chgData name="Xu Zhen" userId="2cb4ecb2d6de1f1a" providerId="LiveId" clId="{8A8AE608-CE4F-47A6-B03F-A67311A32AAF}" dt="2023-04-04T08:44:04.513" v="2934" actId="20577"/>
          <ac:spMkLst>
            <pc:docMk/>
            <pc:sldMk cId="1302606648" sldId="679"/>
            <ac:spMk id="11" creationId="{E390BA0B-FE06-D41E-D682-55AC6835C0EE}"/>
          </ac:spMkLst>
        </pc:spChg>
        <pc:spChg chg="add mod">
          <ac:chgData name="Xu Zhen" userId="2cb4ecb2d6de1f1a" providerId="LiveId" clId="{8A8AE608-CE4F-47A6-B03F-A67311A32AAF}" dt="2023-04-04T08:15:41.771" v="2022" actId="1076"/>
          <ac:spMkLst>
            <pc:docMk/>
            <pc:sldMk cId="1302606648" sldId="679"/>
            <ac:spMk id="12" creationId="{52042E96-C9DE-6808-BC1B-52439BBFEEE8}"/>
          </ac:spMkLst>
        </pc:spChg>
        <pc:spChg chg="add mod">
          <ac:chgData name="Xu Zhen" userId="2cb4ecb2d6de1f1a" providerId="LiveId" clId="{8A8AE608-CE4F-47A6-B03F-A67311A32AAF}" dt="2023-04-04T08:25:27.599" v="2465" actId="20577"/>
          <ac:spMkLst>
            <pc:docMk/>
            <pc:sldMk cId="1302606648" sldId="679"/>
            <ac:spMk id="13" creationId="{819157CC-86E0-1C5F-3A52-BCA65D33971B}"/>
          </ac:spMkLst>
        </pc:spChg>
        <pc:spChg chg="add mod">
          <ac:chgData name="Xu Zhen" userId="2cb4ecb2d6de1f1a" providerId="LiveId" clId="{8A8AE608-CE4F-47A6-B03F-A67311A32AAF}" dt="2023-04-04T08:29:33.326" v="2728" actId="1076"/>
          <ac:spMkLst>
            <pc:docMk/>
            <pc:sldMk cId="1302606648" sldId="679"/>
            <ac:spMk id="14" creationId="{B7306838-A057-C0CD-B387-1DB022D67C05}"/>
          </ac:spMkLst>
        </pc:spChg>
        <pc:picChg chg="add mod">
          <ac:chgData name="Xu Zhen" userId="2cb4ecb2d6de1f1a" providerId="LiveId" clId="{8A8AE608-CE4F-47A6-B03F-A67311A32AAF}" dt="2023-04-04T08:12:20.156" v="1944" actId="1076"/>
          <ac:picMkLst>
            <pc:docMk/>
            <pc:sldMk cId="1302606648" sldId="679"/>
            <ac:picMk id="6" creationId="{AE475A6E-BE96-7CAC-F0F4-98AF7E68D144}"/>
          </ac:picMkLst>
        </pc:picChg>
        <pc:picChg chg="add mod">
          <ac:chgData name="Xu Zhen" userId="2cb4ecb2d6de1f1a" providerId="LiveId" clId="{8A8AE608-CE4F-47A6-B03F-A67311A32AAF}" dt="2023-04-04T08:15:33.951" v="2019" actId="1076"/>
          <ac:picMkLst>
            <pc:docMk/>
            <pc:sldMk cId="1302606648" sldId="679"/>
            <ac:picMk id="8" creationId="{7F5028C4-C9A3-E3C3-10A3-C1867EC08359}"/>
          </ac:picMkLst>
        </pc:picChg>
        <pc:picChg chg="add mod">
          <ac:chgData name="Xu Zhen" userId="2cb4ecb2d6de1f1a" providerId="LiveId" clId="{8A8AE608-CE4F-47A6-B03F-A67311A32AAF}" dt="2023-04-04T08:25:19.400" v="2461" actId="1076"/>
          <ac:picMkLst>
            <pc:docMk/>
            <pc:sldMk cId="1302606648" sldId="679"/>
            <ac:picMk id="10" creationId="{73D984C3-22FC-1600-F756-7244ECA722E7}"/>
          </ac:picMkLst>
        </pc:picChg>
        <pc:cxnChg chg="add mod">
          <ac:chgData name="Xu Zhen" userId="2cb4ecb2d6de1f1a" providerId="LiveId" clId="{8A8AE608-CE4F-47A6-B03F-A67311A32AAF}" dt="2023-04-04T08:48:41.513" v="3040" actId="1076"/>
          <ac:cxnSpMkLst>
            <pc:docMk/>
            <pc:sldMk cId="1302606648" sldId="679"/>
            <ac:cxnSpMk id="15" creationId="{7197D78D-2A8F-EC6A-BA18-B92CFECA5E05}"/>
          </ac:cxnSpMkLst>
        </pc:cxnChg>
        <pc:cxnChg chg="add mod">
          <ac:chgData name="Xu Zhen" userId="2cb4ecb2d6de1f1a" providerId="LiveId" clId="{8A8AE608-CE4F-47A6-B03F-A67311A32AAF}" dt="2023-04-04T08:48:54.350" v="3044" actId="1035"/>
          <ac:cxnSpMkLst>
            <pc:docMk/>
            <pc:sldMk cId="1302606648" sldId="679"/>
            <ac:cxnSpMk id="19" creationId="{22C1C717-0267-B740-F5DF-F5898429A491}"/>
          </ac:cxnSpMkLst>
        </pc:cxnChg>
      </pc:sldChg>
      <pc:sldChg chg="addSp delSp modSp add mod">
        <pc:chgData name="Xu Zhen" userId="2cb4ecb2d6de1f1a" providerId="LiveId" clId="{8A8AE608-CE4F-47A6-B03F-A67311A32AAF}" dt="2023-04-04T08:49:50.582" v="3058" actId="1036"/>
        <pc:sldMkLst>
          <pc:docMk/>
          <pc:sldMk cId="3487543478" sldId="680"/>
        </pc:sldMkLst>
        <pc:spChg chg="mod">
          <ac:chgData name="Xu Zhen" userId="2cb4ecb2d6de1f1a" providerId="LiveId" clId="{8A8AE608-CE4F-47A6-B03F-A67311A32AAF}" dt="2023-04-04T08:42:35.644" v="2882" actId="20577"/>
          <ac:spMkLst>
            <pc:docMk/>
            <pc:sldMk cId="3487543478" sldId="680"/>
            <ac:spMk id="3" creationId="{465BB4C6-6C18-6BA8-84D4-562A128F8566}"/>
          </ac:spMkLst>
        </pc:spChg>
        <pc:spChg chg="mod">
          <ac:chgData name="Xu Zhen" userId="2cb4ecb2d6de1f1a" providerId="LiveId" clId="{8A8AE608-CE4F-47A6-B03F-A67311A32AAF}" dt="2023-04-04T08:44:00.356" v="2929" actId="20577"/>
          <ac:spMkLst>
            <pc:docMk/>
            <pc:sldMk cId="3487543478" sldId="680"/>
            <ac:spMk id="11" creationId="{E390BA0B-FE06-D41E-D682-55AC6835C0EE}"/>
          </ac:spMkLst>
        </pc:spChg>
        <pc:spChg chg="mod">
          <ac:chgData name="Xu Zhen" userId="2cb4ecb2d6de1f1a" providerId="LiveId" clId="{8A8AE608-CE4F-47A6-B03F-A67311A32AAF}" dt="2023-04-04T08:41:43.454" v="2877" actId="1076"/>
          <ac:spMkLst>
            <pc:docMk/>
            <pc:sldMk cId="3487543478" sldId="680"/>
            <ac:spMk id="13" creationId="{819157CC-86E0-1C5F-3A52-BCA65D33971B}"/>
          </ac:spMkLst>
        </pc:spChg>
        <pc:spChg chg="mod">
          <ac:chgData name="Xu Zhen" userId="2cb4ecb2d6de1f1a" providerId="LiveId" clId="{8A8AE608-CE4F-47A6-B03F-A67311A32AAF}" dt="2023-04-04T08:41:56.054" v="2878" actId="1076"/>
          <ac:spMkLst>
            <pc:docMk/>
            <pc:sldMk cId="3487543478" sldId="680"/>
            <ac:spMk id="14" creationId="{B7306838-A057-C0CD-B387-1DB022D67C05}"/>
          </ac:spMkLst>
        </pc:spChg>
        <pc:spChg chg="add del mod">
          <ac:chgData name="Xu Zhen" userId="2cb4ecb2d6de1f1a" providerId="LiveId" clId="{8A8AE608-CE4F-47A6-B03F-A67311A32AAF}" dt="2023-04-04T08:38:38.065" v="2793" actId="478"/>
          <ac:spMkLst>
            <pc:docMk/>
            <pc:sldMk cId="3487543478" sldId="680"/>
            <ac:spMk id="19" creationId="{CE5EC076-DD79-D8A8-5AA2-78B1F5BEBFC3}"/>
          </ac:spMkLst>
        </pc:spChg>
        <pc:picChg chg="del">
          <ac:chgData name="Xu Zhen" userId="2cb4ecb2d6de1f1a" providerId="LiveId" clId="{8A8AE608-CE4F-47A6-B03F-A67311A32AAF}" dt="2023-04-04T08:30:42.626" v="2732" actId="478"/>
          <ac:picMkLst>
            <pc:docMk/>
            <pc:sldMk cId="3487543478" sldId="680"/>
            <ac:picMk id="6" creationId="{AE475A6E-BE96-7CAC-F0F4-98AF7E68D144}"/>
          </ac:picMkLst>
        </pc:picChg>
        <pc:picChg chg="add mod">
          <ac:chgData name="Xu Zhen" userId="2cb4ecb2d6de1f1a" providerId="LiveId" clId="{8A8AE608-CE4F-47A6-B03F-A67311A32AAF}" dt="2023-04-04T08:30:48.592" v="2734" actId="1076"/>
          <ac:picMkLst>
            <pc:docMk/>
            <pc:sldMk cId="3487543478" sldId="680"/>
            <ac:picMk id="7" creationId="{E341465D-95E6-9149-A43A-D336042986B5}"/>
          </ac:picMkLst>
        </pc:picChg>
        <pc:picChg chg="del">
          <ac:chgData name="Xu Zhen" userId="2cb4ecb2d6de1f1a" providerId="LiveId" clId="{8A8AE608-CE4F-47A6-B03F-A67311A32AAF}" dt="2023-04-04T08:31:04.273" v="2755" actId="478"/>
          <ac:picMkLst>
            <pc:docMk/>
            <pc:sldMk cId="3487543478" sldId="680"/>
            <ac:picMk id="8" creationId="{7F5028C4-C9A3-E3C3-10A3-C1867EC08359}"/>
          </ac:picMkLst>
        </pc:picChg>
        <pc:picChg chg="del">
          <ac:chgData name="Xu Zhen" userId="2cb4ecb2d6de1f1a" providerId="LiveId" clId="{8A8AE608-CE4F-47A6-B03F-A67311A32AAF}" dt="2023-04-04T08:37:40.071" v="2758" actId="478"/>
          <ac:picMkLst>
            <pc:docMk/>
            <pc:sldMk cId="3487543478" sldId="680"/>
            <ac:picMk id="10" creationId="{73D984C3-22FC-1600-F756-7244ECA722E7}"/>
          </ac:picMkLst>
        </pc:picChg>
        <pc:picChg chg="add mod">
          <ac:chgData name="Xu Zhen" userId="2cb4ecb2d6de1f1a" providerId="LiveId" clId="{8A8AE608-CE4F-47A6-B03F-A67311A32AAF}" dt="2023-04-04T08:31:27.171" v="2757" actId="1076"/>
          <ac:picMkLst>
            <pc:docMk/>
            <pc:sldMk cId="3487543478" sldId="680"/>
            <ac:picMk id="15" creationId="{0577F968-D994-B6D2-B8F6-9975173E9736}"/>
          </ac:picMkLst>
        </pc:picChg>
        <pc:picChg chg="add mod modCrop">
          <ac:chgData name="Xu Zhen" userId="2cb4ecb2d6de1f1a" providerId="LiveId" clId="{8A8AE608-CE4F-47A6-B03F-A67311A32AAF}" dt="2023-04-04T08:49:31.888" v="3052" actId="1076"/>
          <ac:picMkLst>
            <pc:docMk/>
            <pc:sldMk cId="3487543478" sldId="680"/>
            <ac:picMk id="17" creationId="{4D5A5FA6-FCFC-7999-4195-86A790A07C94}"/>
          </ac:picMkLst>
        </pc:picChg>
        <pc:picChg chg="add mod">
          <ac:chgData name="Xu Zhen" userId="2cb4ecb2d6de1f1a" providerId="LiveId" clId="{8A8AE608-CE4F-47A6-B03F-A67311A32AAF}" dt="2023-04-04T08:40:58.410" v="2856" actId="1076"/>
          <ac:picMkLst>
            <pc:docMk/>
            <pc:sldMk cId="3487543478" sldId="680"/>
            <ac:picMk id="21" creationId="{2DA60914-ADD7-73C9-7E45-9DB3AE18EF27}"/>
          </ac:picMkLst>
        </pc:picChg>
        <pc:cxnChg chg="add mod">
          <ac:chgData name="Xu Zhen" userId="2cb4ecb2d6de1f1a" providerId="LiveId" clId="{8A8AE608-CE4F-47A6-B03F-A67311A32AAF}" dt="2023-04-04T08:49:43.740" v="3056" actId="1076"/>
          <ac:cxnSpMkLst>
            <pc:docMk/>
            <pc:sldMk cId="3487543478" sldId="680"/>
            <ac:cxnSpMk id="22" creationId="{F8273F45-7661-F46B-5EC3-4D72264829FD}"/>
          </ac:cxnSpMkLst>
        </pc:cxnChg>
        <pc:cxnChg chg="add mod">
          <ac:chgData name="Xu Zhen" userId="2cb4ecb2d6de1f1a" providerId="LiveId" clId="{8A8AE608-CE4F-47A6-B03F-A67311A32AAF}" dt="2023-04-04T08:49:50.582" v="3058" actId="1036"/>
          <ac:cxnSpMkLst>
            <pc:docMk/>
            <pc:sldMk cId="3487543478" sldId="680"/>
            <ac:cxnSpMk id="23" creationId="{2ECF177E-7B1B-9A9C-E479-C30C0B9D6044}"/>
          </ac:cxnSpMkLst>
        </pc:cxnChg>
      </pc:sldChg>
      <pc:sldChg chg="addSp delSp modSp add mod">
        <pc:chgData name="Xu Zhen" userId="2cb4ecb2d6de1f1a" providerId="LiveId" clId="{8A8AE608-CE4F-47A6-B03F-A67311A32AAF}" dt="2023-04-04T12:34:52.636" v="6706"/>
        <pc:sldMkLst>
          <pc:docMk/>
          <pc:sldMk cId="2317289300" sldId="681"/>
        </pc:sldMkLst>
        <pc:spChg chg="mod">
          <ac:chgData name="Xu Zhen" userId="2cb4ecb2d6de1f1a" providerId="LiveId" clId="{8A8AE608-CE4F-47A6-B03F-A67311A32AAF}" dt="2023-04-04T08:42:45.400" v="2884" actId="20577"/>
          <ac:spMkLst>
            <pc:docMk/>
            <pc:sldMk cId="2317289300" sldId="681"/>
            <ac:spMk id="3" creationId="{465BB4C6-6C18-6BA8-84D4-562A128F8566}"/>
          </ac:spMkLst>
        </pc:spChg>
        <pc:spChg chg="mod">
          <ac:chgData name="Xu Zhen" userId="2cb4ecb2d6de1f1a" providerId="LiveId" clId="{8A8AE608-CE4F-47A6-B03F-A67311A32AAF}" dt="2023-04-04T08:45:39.393" v="2976" actId="1076"/>
          <ac:spMkLst>
            <pc:docMk/>
            <pc:sldMk cId="2317289300" sldId="681"/>
            <ac:spMk id="4" creationId="{0140049A-3384-8FDD-DE06-A286A3E58E48}"/>
          </ac:spMkLst>
        </pc:spChg>
        <pc:spChg chg="mod">
          <ac:chgData name="Xu Zhen" userId="2cb4ecb2d6de1f1a" providerId="LiveId" clId="{8A8AE608-CE4F-47A6-B03F-A67311A32AAF}" dt="2023-04-04T08:43:55.818" v="2922" actId="20577"/>
          <ac:spMkLst>
            <pc:docMk/>
            <pc:sldMk cId="2317289300" sldId="681"/>
            <ac:spMk id="11" creationId="{E390BA0B-FE06-D41E-D682-55AC6835C0EE}"/>
          </ac:spMkLst>
        </pc:spChg>
        <pc:spChg chg="mod">
          <ac:chgData name="Xu Zhen" userId="2cb4ecb2d6de1f1a" providerId="LiveId" clId="{8A8AE608-CE4F-47A6-B03F-A67311A32AAF}" dt="2023-04-04T08:46:38.656" v="3027" actId="1076"/>
          <ac:spMkLst>
            <pc:docMk/>
            <pc:sldMk cId="2317289300" sldId="681"/>
            <ac:spMk id="12" creationId="{52042E96-C9DE-6808-BC1B-52439BBFEEE8}"/>
          </ac:spMkLst>
        </pc:spChg>
        <pc:spChg chg="del">
          <ac:chgData name="Xu Zhen" userId="2cb4ecb2d6de1f1a" providerId="LiveId" clId="{8A8AE608-CE4F-47A6-B03F-A67311A32AAF}" dt="2023-04-04T08:45:24.176" v="2950" actId="478"/>
          <ac:spMkLst>
            <pc:docMk/>
            <pc:sldMk cId="2317289300" sldId="681"/>
            <ac:spMk id="13" creationId="{819157CC-86E0-1C5F-3A52-BCA65D33971B}"/>
          </ac:spMkLst>
        </pc:spChg>
        <pc:spChg chg="mod">
          <ac:chgData name="Xu Zhen" userId="2cb4ecb2d6de1f1a" providerId="LiveId" clId="{8A8AE608-CE4F-47A6-B03F-A67311A32AAF}" dt="2023-04-04T12:34:52.636" v="6706"/>
          <ac:spMkLst>
            <pc:docMk/>
            <pc:sldMk cId="2317289300" sldId="681"/>
            <ac:spMk id="14" creationId="{B7306838-A057-C0CD-B387-1DB022D67C05}"/>
          </ac:spMkLst>
        </pc:spChg>
        <pc:spChg chg="add mod">
          <ac:chgData name="Xu Zhen" userId="2cb4ecb2d6de1f1a" providerId="LiveId" clId="{8A8AE608-CE4F-47A6-B03F-A67311A32AAF}" dt="2023-04-04T08:53:52.857" v="3326" actId="20577"/>
          <ac:spMkLst>
            <pc:docMk/>
            <pc:sldMk cId="2317289300" sldId="681"/>
            <ac:spMk id="22" creationId="{AD314AEA-DAE5-4698-2343-B4821DCFCCBE}"/>
          </ac:spMkLst>
        </pc:spChg>
        <pc:spChg chg="add mod">
          <ac:chgData name="Xu Zhen" userId="2cb4ecb2d6de1f1a" providerId="LiveId" clId="{8A8AE608-CE4F-47A6-B03F-A67311A32AAF}" dt="2023-04-04T08:53:30.209" v="3319" actId="1076"/>
          <ac:spMkLst>
            <pc:docMk/>
            <pc:sldMk cId="2317289300" sldId="681"/>
            <ac:spMk id="23" creationId="{43F3E920-679F-0DED-6847-382DA4E37132}"/>
          </ac:spMkLst>
        </pc:spChg>
        <pc:spChg chg="add del mod">
          <ac:chgData name="Xu Zhen" userId="2cb4ecb2d6de1f1a" providerId="LiveId" clId="{8A8AE608-CE4F-47A6-B03F-A67311A32AAF}" dt="2023-04-04T08:52:11.109" v="3224"/>
          <ac:spMkLst>
            <pc:docMk/>
            <pc:sldMk cId="2317289300" sldId="681"/>
            <ac:spMk id="24" creationId="{1CC511B6-D663-EB47-D4FA-DF66D2BE871F}"/>
          </ac:spMkLst>
        </pc:spChg>
        <pc:spChg chg="add del mod">
          <ac:chgData name="Xu Zhen" userId="2cb4ecb2d6de1f1a" providerId="LiveId" clId="{8A8AE608-CE4F-47A6-B03F-A67311A32AAF}" dt="2023-04-04T08:52:14.265" v="3226" actId="478"/>
          <ac:spMkLst>
            <pc:docMk/>
            <pc:sldMk cId="2317289300" sldId="681"/>
            <ac:spMk id="25" creationId="{1F6AE664-FACB-BA8B-E97A-53B235A55183}"/>
          </ac:spMkLst>
        </pc:spChg>
        <pc:picChg chg="add mod">
          <ac:chgData name="Xu Zhen" userId="2cb4ecb2d6de1f1a" providerId="LiveId" clId="{8A8AE608-CE4F-47A6-B03F-A67311A32AAF}" dt="2023-04-04T08:43:39.836" v="2888" actId="1076"/>
          <ac:picMkLst>
            <pc:docMk/>
            <pc:sldMk cId="2317289300" sldId="681"/>
            <ac:picMk id="6" creationId="{8111216D-C36D-F34A-9E59-AB873745FDBE}"/>
          </ac:picMkLst>
        </pc:picChg>
        <pc:picChg chg="del mod">
          <ac:chgData name="Xu Zhen" userId="2cb4ecb2d6de1f1a" providerId="LiveId" clId="{8A8AE608-CE4F-47A6-B03F-A67311A32AAF}" dt="2023-04-04T08:43:33.299" v="2886" actId="478"/>
          <ac:picMkLst>
            <pc:docMk/>
            <pc:sldMk cId="2317289300" sldId="681"/>
            <ac:picMk id="7" creationId="{E341465D-95E6-9149-A43A-D336042986B5}"/>
          </ac:picMkLst>
        </pc:picChg>
        <pc:picChg chg="add mod">
          <ac:chgData name="Xu Zhen" userId="2cb4ecb2d6de1f1a" providerId="LiveId" clId="{8A8AE608-CE4F-47A6-B03F-A67311A32AAF}" dt="2023-04-04T08:46:38.656" v="3027" actId="1076"/>
          <ac:picMkLst>
            <pc:docMk/>
            <pc:sldMk cId="2317289300" sldId="681"/>
            <ac:picMk id="9" creationId="{65906215-45EC-0B06-ECA1-F2BC4AA27CDF}"/>
          </ac:picMkLst>
        </pc:picChg>
        <pc:picChg chg="del">
          <ac:chgData name="Xu Zhen" userId="2cb4ecb2d6de1f1a" providerId="LiveId" clId="{8A8AE608-CE4F-47A6-B03F-A67311A32AAF}" dt="2023-04-04T08:44:39.996" v="2940" actId="478"/>
          <ac:picMkLst>
            <pc:docMk/>
            <pc:sldMk cId="2317289300" sldId="681"/>
            <ac:picMk id="15" creationId="{0577F968-D994-B6D2-B8F6-9975173E9736}"/>
          </ac:picMkLst>
        </pc:picChg>
        <pc:picChg chg="add mod">
          <ac:chgData name="Xu Zhen" userId="2cb4ecb2d6de1f1a" providerId="LiveId" clId="{8A8AE608-CE4F-47A6-B03F-A67311A32AAF}" dt="2023-04-04T08:47:38.202" v="3031" actId="1076"/>
          <ac:picMkLst>
            <pc:docMk/>
            <pc:sldMk cId="2317289300" sldId="681"/>
            <ac:picMk id="16" creationId="{5ECFF59B-0194-A309-CE78-3ECADB29717C}"/>
          </ac:picMkLst>
        </pc:picChg>
        <pc:picChg chg="del">
          <ac:chgData name="Xu Zhen" userId="2cb4ecb2d6de1f1a" providerId="LiveId" clId="{8A8AE608-CE4F-47A6-B03F-A67311A32AAF}" dt="2023-04-04T08:45:28.386" v="2952" actId="478"/>
          <ac:picMkLst>
            <pc:docMk/>
            <pc:sldMk cId="2317289300" sldId="681"/>
            <ac:picMk id="17" creationId="{4D5A5FA6-FCFC-7999-4195-86A790A07C94}"/>
          </ac:picMkLst>
        </pc:picChg>
        <pc:picChg chg="del">
          <ac:chgData name="Xu Zhen" userId="2cb4ecb2d6de1f1a" providerId="LiveId" clId="{8A8AE608-CE4F-47A6-B03F-A67311A32AAF}" dt="2023-04-04T08:45:26.050" v="2951" actId="478"/>
          <ac:picMkLst>
            <pc:docMk/>
            <pc:sldMk cId="2317289300" sldId="681"/>
            <ac:picMk id="21" creationId="{2DA60914-ADD7-73C9-7E45-9DB3AE18EF27}"/>
          </ac:picMkLst>
        </pc:picChg>
        <pc:cxnChg chg="add mod">
          <ac:chgData name="Xu Zhen" userId="2cb4ecb2d6de1f1a" providerId="LiveId" clId="{8A8AE608-CE4F-47A6-B03F-A67311A32AAF}" dt="2023-04-04T08:53:46.953" v="3325" actId="1076"/>
          <ac:cxnSpMkLst>
            <pc:docMk/>
            <pc:sldMk cId="2317289300" sldId="681"/>
            <ac:cxnSpMk id="18" creationId="{605885D0-BF54-6007-360E-C41733167259}"/>
          </ac:cxnSpMkLst>
        </pc:cxnChg>
      </pc:sldChg>
      <pc:sldChg chg="addSp delSp modSp add mod">
        <pc:chgData name="Xu Zhen" userId="2cb4ecb2d6de1f1a" providerId="LiveId" clId="{8A8AE608-CE4F-47A6-B03F-A67311A32AAF}" dt="2023-04-04T09:11:16.049" v="4150" actId="20577"/>
        <pc:sldMkLst>
          <pc:docMk/>
          <pc:sldMk cId="2844531361" sldId="682"/>
        </pc:sldMkLst>
        <pc:spChg chg="mod">
          <ac:chgData name="Xu Zhen" userId="2cb4ecb2d6de1f1a" providerId="LiveId" clId="{8A8AE608-CE4F-47A6-B03F-A67311A32AAF}" dt="2023-04-04T08:54:27.792" v="3338" actId="20577"/>
          <ac:spMkLst>
            <pc:docMk/>
            <pc:sldMk cId="2844531361" sldId="682"/>
            <ac:spMk id="3" creationId="{465BB4C6-6C18-6BA8-84D4-562A128F8566}"/>
          </ac:spMkLst>
        </pc:spChg>
        <pc:spChg chg="mod">
          <ac:chgData name="Xu Zhen" userId="2cb4ecb2d6de1f1a" providerId="LiveId" clId="{8A8AE608-CE4F-47A6-B03F-A67311A32AAF}" dt="2023-04-04T08:54:35.097" v="3362" actId="20577"/>
          <ac:spMkLst>
            <pc:docMk/>
            <pc:sldMk cId="2844531361" sldId="682"/>
            <ac:spMk id="4" creationId="{0140049A-3384-8FDD-DE06-A286A3E58E48}"/>
          </ac:spMkLst>
        </pc:spChg>
        <pc:spChg chg="mod">
          <ac:chgData name="Xu Zhen" userId="2cb4ecb2d6de1f1a" providerId="LiveId" clId="{8A8AE608-CE4F-47A6-B03F-A67311A32AAF}" dt="2023-04-04T09:04:57.268" v="3657" actId="1076"/>
          <ac:spMkLst>
            <pc:docMk/>
            <pc:sldMk cId="2844531361" sldId="682"/>
            <ac:spMk id="11" creationId="{E390BA0B-FE06-D41E-D682-55AC6835C0EE}"/>
          </ac:spMkLst>
        </pc:spChg>
        <pc:spChg chg="mod">
          <ac:chgData name="Xu Zhen" userId="2cb4ecb2d6de1f1a" providerId="LiveId" clId="{8A8AE608-CE4F-47A6-B03F-A67311A32AAF}" dt="2023-04-04T09:04:47.616" v="3656" actId="1076"/>
          <ac:spMkLst>
            <pc:docMk/>
            <pc:sldMk cId="2844531361" sldId="682"/>
            <ac:spMk id="12" creationId="{52042E96-C9DE-6808-BC1B-52439BBFEEE8}"/>
          </ac:spMkLst>
        </pc:spChg>
        <pc:spChg chg="add mod">
          <ac:chgData name="Xu Zhen" userId="2cb4ecb2d6de1f1a" providerId="LiveId" clId="{8A8AE608-CE4F-47A6-B03F-A67311A32AAF}" dt="2023-04-04T09:01:08.639" v="3421" actId="1076"/>
          <ac:spMkLst>
            <pc:docMk/>
            <pc:sldMk cId="2844531361" sldId="682"/>
            <ac:spMk id="13" creationId="{7E5CF71C-67CE-9B1E-F245-9B8F723C307F}"/>
          </ac:spMkLst>
        </pc:spChg>
        <pc:spChg chg="mod">
          <ac:chgData name="Xu Zhen" userId="2cb4ecb2d6de1f1a" providerId="LiveId" clId="{8A8AE608-CE4F-47A6-B03F-A67311A32AAF}" dt="2023-04-04T09:11:16.049" v="4150" actId="20577"/>
          <ac:spMkLst>
            <pc:docMk/>
            <pc:sldMk cId="2844531361" sldId="682"/>
            <ac:spMk id="14" creationId="{B7306838-A057-C0CD-B387-1DB022D67C05}"/>
          </ac:spMkLst>
        </pc:spChg>
        <pc:spChg chg="add mod">
          <ac:chgData name="Xu Zhen" userId="2cb4ecb2d6de1f1a" providerId="LiveId" clId="{8A8AE608-CE4F-47A6-B03F-A67311A32AAF}" dt="2023-04-04T09:10:23.337" v="4109" actId="20577"/>
          <ac:spMkLst>
            <pc:docMk/>
            <pc:sldMk cId="2844531361" sldId="682"/>
            <ac:spMk id="19" creationId="{B67231DE-7B9C-93F8-948D-E07861ED810F}"/>
          </ac:spMkLst>
        </pc:spChg>
        <pc:spChg chg="del mod">
          <ac:chgData name="Xu Zhen" userId="2cb4ecb2d6de1f1a" providerId="LiveId" clId="{8A8AE608-CE4F-47A6-B03F-A67311A32AAF}" dt="2023-04-04T08:59:44.120" v="3387" actId="478"/>
          <ac:spMkLst>
            <pc:docMk/>
            <pc:sldMk cId="2844531361" sldId="682"/>
            <ac:spMk id="22" creationId="{AD314AEA-DAE5-4698-2343-B4821DCFCCBE}"/>
          </ac:spMkLst>
        </pc:spChg>
        <pc:spChg chg="del">
          <ac:chgData name="Xu Zhen" userId="2cb4ecb2d6de1f1a" providerId="LiveId" clId="{8A8AE608-CE4F-47A6-B03F-A67311A32AAF}" dt="2023-04-04T08:59:46.902" v="3388" actId="478"/>
          <ac:spMkLst>
            <pc:docMk/>
            <pc:sldMk cId="2844531361" sldId="682"/>
            <ac:spMk id="23" creationId="{43F3E920-679F-0DED-6847-382DA4E37132}"/>
          </ac:spMkLst>
        </pc:spChg>
        <pc:picChg chg="del">
          <ac:chgData name="Xu Zhen" userId="2cb4ecb2d6de1f1a" providerId="LiveId" clId="{8A8AE608-CE4F-47A6-B03F-A67311A32AAF}" dt="2023-04-04T08:59:13.730" v="3367" actId="478"/>
          <ac:picMkLst>
            <pc:docMk/>
            <pc:sldMk cId="2844531361" sldId="682"/>
            <ac:picMk id="6" creationId="{8111216D-C36D-F34A-9E59-AB873745FDBE}"/>
          </ac:picMkLst>
        </pc:picChg>
        <pc:picChg chg="add mod modCrop">
          <ac:chgData name="Xu Zhen" userId="2cb4ecb2d6de1f1a" providerId="LiveId" clId="{8A8AE608-CE4F-47A6-B03F-A67311A32AAF}" dt="2023-04-04T09:10:13.130" v="4102" actId="14100"/>
          <ac:picMkLst>
            <pc:docMk/>
            <pc:sldMk cId="2844531361" sldId="682"/>
            <ac:picMk id="7" creationId="{E3E47AEA-00B1-9BCF-08CC-5806489D931B}"/>
          </ac:picMkLst>
        </pc:picChg>
        <pc:picChg chg="del">
          <ac:chgData name="Xu Zhen" userId="2cb4ecb2d6de1f1a" providerId="LiveId" clId="{8A8AE608-CE4F-47A6-B03F-A67311A32AAF}" dt="2023-04-04T08:59:16.274" v="3369" actId="478"/>
          <ac:picMkLst>
            <pc:docMk/>
            <pc:sldMk cId="2844531361" sldId="682"/>
            <ac:picMk id="9" creationId="{65906215-45EC-0B06-ECA1-F2BC4AA27CDF}"/>
          </ac:picMkLst>
        </pc:picChg>
        <pc:picChg chg="add mod">
          <ac:chgData name="Xu Zhen" userId="2cb4ecb2d6de1f1a" providerId="LiveId" clId="{8A8AE608-CE4F-47A6-B03F-A67311A32AAF}" dt="2023-04-04T09:04:42.637" v="3655" actId="14100"/>
          <ac:picMkLst>
            <pc:docMk/>
            <pc:sldMk cId="2844531361" sldId="682"/>
            <ac:picMk id="10" creationId="{DE11F5B4-6D90-3BA3-F8AA-04BD05DCDB52}"/>
          </ac:picMkLst>
        </pc:picChg>
        <pc:picChg chg="del">
          <ac:chgData name="Xu Zhen" userId="2cb4ecb2d6de1f1a" providerId="LiveId" clId="{8A8AE608-CE4F-47A6-B03F-A67311A32AAF}" dt="2023-04-04T08:57:28.831" v="3363" actId="478"/>
          <ac:picMkLst>
            <pc:docMk/>
            <pc:sldMk cId="2844531361" sldId="682"/>
            <ac:picMk id="16" creationId="{5ECFF59B-0194-A309-CE78-3ECADB29717C}"/>
          </ac:picMkLst>
        </pc:picChg>
        <pc:picChg chg="add mod">
          <ac:chgData name="Xu Zhen" userId="2cb4ecb2d6de1f1a" providerId="LiveId" clId="{8A8AE608-CE4F-47A6-B03F-A67311A32AAF}" dt="2023-04-04T09:04:40.178" v="3654" actId="1076"/>
          <ac:picMkLst>
            <pc:docMk/>
            <pc:sldMk cId="2844531361" sldId="682"/>
            <ac:picMk id="17" creationId="{4071627F-D352-A964-9CF1-8DCAE0B35536}"/>
          </ac:picMkLst>
        </pc:picChg>
      </pc:sldChg>
      <pc:sldChg chg="addSp delSp modSp add mod">
        <pc:chgData name="Xu Zhen" userId="2cb4ecb2d6de1f1a" providerId="LiveId" clId="{8A8AE608-CE4F-47A6-B03F-A67311A32AAF}" dt="2023-04-04T09:43:42.989" v="4740" actId="113"/>
        <pc:sldMkLst>
          <pc:docMk/>
          <pc:sldMk cId="361293053" sldId="683"/>
        </pc:sldMkLst>
        <pc:spChg chg="mod">
          <ac:chgData name="Xu Zhen" userId="2cb4ecb2d6de1f1a" providerId="LiveId" clId="{8A8AE608-CE4F-47A6-B03F-A67311A32AAF}" dt="2023-04-04T09:12:20.212" v="4194" actId="20577"/>
          <ac:spMkLst>
            <pc:docMk/>
            <pc:sldMk cId="361293053" sldId="683"/>
            <ac:spMk id="3" creationId="{465BB4C6-6C18-6BA8-84D4-562A128F8566}"/>
          </ac:spMkLst>
        </pc:spChg>
        <pc:spChg chg="mod">
          <ac:chgData name="Xu Zhen" userId="2cb4ecb2d6de1f1a" providerId="LiveId" clId="{8A8AE608-CE4F-47A6-B03F-A67311A32AAF}" dt="2023-04-04T09:40:11.230" v="4373" actId="20577"/>
          <ac:spMkLst>
            <pc:docMk/>
            <pc:sldMk cId="361293053" sldId="683"/>
            <ac:spMk id="4" creationId="{0140049A-3384-8FDD-DE06-A286A3E58E48}"/>
          </ac:spMkLst>
        </pc:spChg>
        <pc:spChg chg="mod">
          <ac:chgData name="Xu Zhen" userId="2cb4ecb2d6de1f1a" providerId="LiveId" clId="{8A8AE608-CE4F-47A6-B03F-A67311A32AAF}" dt="2023-04-04T09:38:54.485" v="4360" actId="20577"/>
          <ac:spMkLst>
            <pc:docMk/>
            <pc:sldMk cId="361293053" sldId="683"/>
            <ac:spMk id="11" creationId="{E390BA0B-FE06-D41E-D682-55AC6835C0EE}"/>
          </ac:spMkLst>
        </pc:spChg>
        <pc:spChg chg="del">
          <ac:chgData name="Xu Zhen" userId="2cb4ecb2d6de1f1a" providerId="LiveId" clId="{8A8AE608-CE4F-47A6-B03F-A67311A32AAF}" dt="2023-04-04T09:27:50.952" v="4220" actId="478"/>
          <ac:spMkLst>
            <pc:docMk/>
            <pc:sldMk cId="361293053" sldId="683"/>
            <ac:spMk id="12" creationId="{52042E96-C9DE-6808-BC1B-52439BBFEEE8}"/>
          </ac:spMkLst>
        </pc:spChg>
        <pc:spChg chg="mod">
          <ac:chgData name="Xu Zhen" userId="2cb4ecb2d6de1f1a" providerId="LiveId" clId="{8A8AE608-CE4F-47A6-B03F-A67311A32AAF}" dt="2023-04-04T09:38:20.942" v="4314" actId="20577"/>
          <ac:spMkLst>
            <pc:docMk/>
            <pc:sldMk cId="361293053" sldId="683"/>
            <ac:spMk id="13" creationId="{7E5CF71C-67CE-9B1E-F245-9B8F723C307F}"/>
          </ac:spMkLst>
        </pc:spChg>
        <pc:spChg chg="del">
          <ac:chgData name="Xu Zhen" userId="2cb4ecb2d6de1f1a" providerId="LiveId" clId="{8A8AE608-CE4F-47A6-B03F-A67311A32AAF}" dt="2023-04-04T09:23:54.463" v="4214" actId="478"/>
          <ac:spMkLst>
            <pc:docMk/>
            <pc:sldMk cId="361293053" sldId="683"/>
            <ac:spMk id="14" creationId="{B7306838-A057-C0CD-B387-1DB022D67C05}"/>
          </ac:spMkLst>
        </pc:spChg>
        <pc:spChg chg="mod">
          <ac:chgData name="Xu Zhen" userId="2cb4ecb2d6de1f1a" providerId="LiveId" clId="{8A8AE608-CE4F-47A6-B03F-A67311A32AAF}" dt="2023-04-04T09:43:42.989" v="4740" actId="113"/>
          <ac:spMkLst>
            <pc:docMk/>
            <pc:sldMk cId="361293053" sldId="683"/>
            <ac:spMk id="19" creationId="{B67231DE-7B9C-93F8-948D-E07861ED810F}"/>
          </ac:spMkLst>
        </pc:spChg>
        <pc:spChg chg="add mod">
          <ac:chgData name="Xu Zhen" userId="2cb4ecb2d6de1f1a" providerId="LiveId" clId="{8A8AE608-CE4F-47A6-B03F-A67311A32AAF}" dt="2023-04-04T09:36:01.256" v="4249" actId="1076"/>
          <ac:spMkLst>
            <pc:docMk/>
            <pc:sldMk cId="361293053" sldId="683"/>
            <ac:spMk id="22" creationId="{8660249A-C0AE-A5CB-2E86-A5B9FB72F58F}"/>
          </ac:spMkLst>
        </pc:spChg>
        <pc:spChg chg="add mod">
          <ac:chgData name="Xu Zhen" userId="2cb4ecb2d6de1f1a" providerId="LiveId" clId="{8A8AE608-CE4F-47A6-B03F-A67311A32AAF}" dt="2023-04-04T09:37:08.478" v="4267" actId="1076"/>
          <ac:spMkLst>
            <pc:docMk/>
            <pc:sldMk cId="361293053" sldId="683"/>
            <ac:spMk id="23" creationId="{6BF3F808-9FFC-ED28-2EC2-1041CA38BC67}"/>
          </ac:spMkLst>
        </pc:spChg>
        <pc:picChg chg="add mod">
          <ac:chgData name="Xu Zhen" userId="2cb4ecb2d6de1f1a" providerId="LiveId" clId="{8A8AE608-CE4F-47A6-B03F-A67311A32AAF}" dt="2023-04-04T09:39:08" v="4361" actId="14100"/>
          <ac:picMkLst>
            <pc:docMk/>
            <pc:sldMk cId="361293053" sldId="683"/>
            <ac:picMk id="6" creationId="{B1DCC571-84C2-9CED-7008-FA21C57ECE61}"/>
          </ac:picMkLst>
        </pc:picChg>
        <pc:picChg chg="del">
          <ac:chgData name="Xu Zhen" userId="2cb4ecb2d6de1f1a" providerId="LiveId" clId="{8A8AE608-CE4F-47A6-B03F-A67311A32AAF}" dt="2023-04-04T09:16:13.969" v="4206" actId="478"/>
          <ac:picMkLst>
            <pc:docMk/>
            <pc:sldMk cId="361293053" sldId="683"/>
            <ac:picMk id="7" creationId="{E3E47AEA-00B1-9BCF-08CC-5806489D931B}"/>
          </ac:picMkLst>
        </pc:picChg>
        <pc:picChg chg="add mod">
          <ac:chgData name="Xu Zhen" userId="2cb4ecb2d6de1f1a" providerId="LiveId" clId="{8A8AE608-CE4F-47A6-B03F-A67311A32AAF}" dt="2023-04-04T09:36:56.315" v="4263" actId="14100"/>
          <ac:picMkLst>
            <pc:docMk/>
            <pc:sldMk cId="361293053" sldId="683"/>
            <ac:picMk id="9" creationId="{3B8431AC-1EE0-009A-F577-E9D806A700A5}"/>
          </ac:picMkLst>
        </pc:picChg>
        <pc:picChg chg="del">
          <ac:chgData name="Xu Zhen" userId="2cb4ecb2d6de1f1a" providerId="LiveId" clId="{8A8AE608-CE4F-47A6-B03F-A67311A32AAF}" dt="2023-04-04T09:23:56.120" v="4215" actId="478"/>
          <ac:picMkLst>
            <pc:docMk/>
            <pc:sldMk cId="361293053" sldId="683"/>
            <ac:picMk id="10" creationId="{DE11F5B4-6D90-3BA3-F8AA-04BD05DCDB52}"/>
          </ac:picMkLst>
        </pc:picChg>
        <pc:picChg chg="add mod">
          <ac:chgData name="Xu Zhen" userId="2cb4ecb2d6de1f1a" providerId="LiveId" clId="{8A8AE608-CE4F-47A6-B03F-A67311A32AAF}" dt="2023-04-04T09:24:03.549" v="4218" actId="1076"/>
          <ac:picMkLst>
            <pc:docMk/>
            <pc:sldMk cId="361293053" sldId="683"/>
            <ac:picMk id="16" creationId="{32743DA8-FDC9-4AF3-83B4-1335FCB7A39F}"/>
          </ac:picMkLst>
        </pc:picChg>
        <pc:picChg chg="del">
          <ac:chgData name="Xu Zhen" userId="2cb4ecb2d6de1f1a" providerId="LiveId" clId="{8A8AE608-CE4F-47A6-B03F-A67311A32AAF}" dt="2023-04-04T09:23:58.348" v="4216" actId="478"/>
          <ac:picMkLst>
            <pc:docMk/>
            <pc:sldMk cId="361293053" sldId="683"/>
            <ac:picMk id="17" creationId="{4071627F-D352-A964-9CF1-8DCAE0B35536}"/>
          </ac:picMkLst>
        </pc:picChg>
        <pc:picChg chg="add mod">
          <ac:chgData name="Xu Zhen" userId="2cb4ecb2d6de1f1a" providerId="LiveId" clId="{8A8AE608-CE4F-47A6-B03F-A67311A32AAF}" dt="2023-04-04T09:37:43.937" v="4275" actId="1076"/>
          <ac:picMkLst>
            <pc:docMk/>
            <pc:sldMk cId="361293053" sldId="683"/>
            <ac:picMk id="21" creationId="{8B5987C5-2CBA-812D-A98F-C70354A01038}"/>
          </ac:picMkLst>
        </pc:picChg>
        <pc:picChg chg="add mod">
          <ac:chgData name="Xu Zhen" userId="2cb4ecb2d6de1f1a" providerId="LiveId" clId="{8A8AE608-CE4F-47A6-B03F-A67311A32AAF}" dt="2023-04-04T09:37:41.213" v="4274" actId="1076"/>
          <ac:picMkLst>
            <pc:docMk/>
            <pc:sldMk cId="361293053" sldId="683"/>
            <ac:picMk id="25" creationId="{1A99EA17-75B0-4C34-E676-E24FEFA94D0B}"/>
          </ac:picMkLst>
        </pc:picChg>
      </pc:sldChg>
      <pc:sldChg chg="addSp delSp modSp new mod">
        <pc:chgData name="Xu Zhen" userId="2cb4ecb2d6de1f1a" providerId="LiveId" clId="{8A8AE608-CE4F-47A6-B03F-A67311A32AAF}" dt="2023-04-04T10:44:36.690" v="6680" actId="20577"/>
        <pc:sldMkLst>
          <pc:docMk/>
          <pc:sldMk cId="3824227302" sldId="684"/>
        </pc:sldMkLst>
        <pc:spChg chg="mod">
          <ac:chgData name="Xu Zhen" userId="2cb4ecb2d6de1f1a" providerId="LiveId" clId="{8A8AE608-CE4F-47A6-B03F-A67311A32AAF}" dt="2023-04-04T09:50:10.516" v="4969" actId="20577"/>
          <ac:spMkLst>
            <pc:docMk/>
            <pc:sldMk cId="3824227302" sldId="684"/>
            <ac:spMk id="2" creationId="{98F31AF7-4A25-B232-FE1D-7797C09BA6B9}"/>
          </ac:spMkLst>
        </pc:spChg>
        <pc:spChg chg="add mod">
          <ac:chgData name="Xu Zhen" userId="2cb4ecb2d6de1f1a" providerId="LiveId" clId="{8A8AE608-CE4F-47A6-B03F-A67311A32AAF}" dt="2023-04-04T09:45:29.046" v="4911" actId="20577"/>
          <ac:spMkLst>
            <pc:docMk/>
            <pc:sldMk cId="3824227302" sldId="684"/>
            <ac:spMk id="3" creationId="{4A835555-5AAB-D64F-BE74-09684CB71FA7}"/>
          </ac:spMkLst>
        </pc:spChg>
        <pc:spChg chg="add mod">
          <ac:chgData name="Xu Zhen" userId="2cb4ecb2d6de1f1a" providerId="LiveId" clId="{8A8AE608-CE4F-47A6-B03F-A67311A32AAF}" dt="2023-04-04T10:43:09.912" v="6639" actId="1076"/>
          <ac:spMkLst>
            <pc:docMk/>
            <pc:sldMk cId="3824227302" sldId="684"/>
            <ac:spMk id="4" creationId="{50E9B8DC-3CF8-D3BB-3D17-8A3689BFFECA}"/>
          </ac:spMkLst>
        </pc:spChg>
        <pc:spChg chg="add mod">
          <ac:chgData name="Xu Zhen" userId="2cb4ecb2d6de1f1a" providerId="LiveId" clId="{8A8AE608-CE4F-47A6-B03F-A67311A32AAF}" dt="2023-04-04T10:42:55.805" v="6636" actId="1076"/>
          <ac:spMkLst>
            <pc:docMk/>
            <pc:sldMk cId="3824227302" sldId="684"/>
            <ac:spMk id="5" creationId="{80282851-BD58-BFE3-CA67-B20CDB4DEC5B}"/>
          </ac:spMkLst>
        </pc:spChg>
        <pc:spChg chg="add mod">
          <ac:chgData name="Xu Zhen" userId="2cb4ecb2d6de1f1a" providerId="LiveId" clId="{8A8AE608-CE4F-47A6-B03F-A67311A32AAF}" dt="2023-04-04T10:42:55.805" v="6636" actId="1076"/>
          <ac:spMkLst>
            <pc:docMk/>
            <pc:sldMk cId="3824227302" sldId="684"/>
            <ac:spMk id="8" creationId="{E520464C-F885-723D-7CFD-3F2500880096}"/>
          </ac:spMkLst>
        </pc:spChg>
        <pc:spChg chg="add mod">
          <ac:chgData name="Xu Zhen" userId="2cb4ecb2d6de1f1a" providerId="LiveId" clId="{8A8AE608-CE4F-47A6-B03F-A67311A32AAF}" dt="2023-04-04T10:42:55.805" v="6636" actId="1076"/>
          <ac:spMkLst>
            <pc:docMk/>
            <pc:sldMk cId="3824227302" sldId="684"/>
            <ac:spMk id="10" creationId="{E0894BBC-5BF7-3ACB-C88B-AB92A7880A40}"/>
          </ac:spMkLst>
        </pc:spChg>
        <pc:spChg chg="add del mod">
          <ac:chgData name="Xu Zhen" userId="2cb4ecb2d6de1f1a" providerId="LiveId" clId="{8A8AE608-CE4F-47A6-B03F-A67311A32AAF}" dt="2023-04-04T09:59:23.071" v="5387" actId="478"/>
          <ac:spMkLst>
            <pc:docMk/>
            <pc:sldMk cId="3824227302" sldId="684"/>
            <ac:spMk id="11" creationId="{9D7C2036-0FAF-0D93-8F3D-7693EAC2B98E}"/>
          </ac:spMkLst>
        </pc:spChg>
        <pc:spChg chg="add mod">
          <ac:chgData name="Xu Zhen" userId="2cb4ecb2d6de1f1a" providerId="LiveId" clId="{8A8AE608-CE4F-47A6-B03F-A67311A32AAF}" dt="2023-04-04T10:43:06.921" v="6638" actId="1076"/>
          <ac:spMkLst>
            <pc:docMk/>
            <pc:sldMk cId="3824227302" sldId="684"/>
            <ac:spMk id="13" creationId="{145AAD92-7F7D-517B-CB83-41AFB99F370F}"/>
          </ac:spMkLst>
        </pc:spChg>
        <pc:spChg chg="add del mod">
          <ac:chgData name="Xu Zhen" userId="2cb4ecb2d6de1f1a" providerId="LiveId" clId="{8A8AE608-CE4F-47A6-B03F-A67311A32AAF}" dt="2023-04-04T10:31:31.581" v="6032"/>
          <ac:spMkLst>
            <pc:docMk/>
            <pc:sldMk cId="3824227302" sldId="684"/>
            <ac:spMk id="16" creationId="{110DDD19-A800-E9A1-D88F-0D518A5C7E63}"/>
          </ac:spMkLst>
        </pc:spChg>
        <pc:spChg chg="add mod">
          <ac:chgData name="Xu Zhen" userId="2cb4ecb2d6de1f1a" providerId="LiveId" clId="{8A8AE608-CE4F-47A6-B03F-A67311A32AAF}" dt="2023-04-04T10:44:36.690" v="6680" actId="20577"/>
          <ac:spMkLst>
            <pc:docMk/>
            <pc:sldMk cId="3824227302" sldId="684"/>
            <ac:spMk id="17" creationId="{B8FEAF86-5688-EC94-6EDA-EACCF4184A15}"/>
          </ac:spMkLst>
        </pc:spChg>
        <pc:picChg chg="add del mod">
          <ac:chgData name="Xu Zhen" userId="2cb4ecb2d6de1f1a" providerId="LiveId" clId="{8A8AE608-CE4F-47A6-B03F-A67311A32AAF}" dt="2023-04-04T10:31:09.517" v="6025" actId="478"/>
          <ac:picMkLst>
            <pc:docMk/>
            <pc:sldMk cId="3824227302" sldId="684"/>
            <ac:picMk id="15" creationId="{E8AC328D-21C2-2011-7CFE-2AB41602A359}"/>
          </ac:picMkLst>
        </pc:picChg>
        <pc:cxnChg chg="add mod">
          <ac:chgData name="Xu Zhen" userId="2cb4ecb2d6de1f1a" providerId="LiveId" clId="{8A8AE608-CE4F-47A6-B03F-A67311A32AAF}" dt="2023-04-04T10:42:55.805" v="6636" actId="1076"/>
          <ac:cxnSpMkLst>
            <pc:docMk/>
            <pc:sldMk cId="3824227302" sldId="684"/>
            <ac:cxnSpMk id="6" creationId="{004CC22C-FB49-C6A5-3918-19782B422C19}"/>
          </ac:cxnSpMkLst>
        </pc:cxnChg>
        <pc:cxnChg chg="add del mod">
          <ac:chgData name="Xu Zhen" userId="2cb4ecb2d6de1f1a" providerId="LiveId" clId="{8A8AE608-CE4F-47A6-B03F-A67311A32AAF}" dt="2023-04-04T09:58:13.727" v="5307"/>
          <ac:cxnSpMkLst>
            <pc:docMk/>
            <pc:sldMk cId="3824227302" sldId="684"/>
            <ac:cxnSpMk id="9" creationId="{38778B1C-FA4C-647F-DA2B-86788B2FDF26}"/>
          </ac:cxnSpMkLst>
        </pc:cxnChg>
        <pc:cxnChg chg="add mod">
          <ac:chgData name="Xu Zhen" userId="2cb4ecb2d6de1f1a" providerId="LiveId" clId="{8A8AE608-CE4F-47A6-B03F-A67311A32AAF}" dt="2023-04-04T10:42:55.805" v="6636" actId="1076"/>
          <ac:cxnSpMkLst>
            <pc:docMk/>
            <pc:sldMk cId="3824227302" sldId="684"/>
            <ac:cxnSpMk id="12" creationId="{D8870C28-9920-1586-0CD7-6FB6A6C40483}"/>
          </ac:cxnSpMkLst>
        </pc:cxnChg>
      </pc:sldChg>
      <pc:sldChg chg="addSp delSp modSp new mod">
        <pc:chgData name="Xu Zhen" userId="2cb4ecb2d6de1f1a" providerId="LiveId" clId="{8A8AE608-CE4F-47A6-B03F-A67311A32AAF}" dt="2023-04-04T13:55:33.985" v="8582" actId="20577"/>
        <pc:sldMkLst>
          <pc:docMk/>
          <pc:sldMk cId="2149904130" sldId="685"/>
        </pc:sldMkLst>
        <pc:spChg chg="mod">
          <ac:chgData name="Xu Zhen" userId="2cb4ecb2d6de1f1a" providerId="LiveId" clId="{8A8AE608-CE4F-47A6-B03F-A67311A32AAF}" dt="2023-04-04T12:34:27.593" v="6704" actId="20577"/>
          <ac:spMkLst>
            <pc:docMk/>
            <pc:sldMk cId="2149904130" sldId="685"/>
            <ac:spMk id="2" creationId="{89DE266A-FAB0-DDA6-EE7B-79E134F8DEB2}"/>
          </ac:spMkLst>
        </pc:spChg>
        <pc:spChg chg="add del mod">
          <ac:chgData name="Xu Zhen" userId="2cb4ecb2d6de1f1a" providerId="LiveId" clId="{8A8AE608-CE4F-47A6-B03F-A67311A32AAF}" dt="2023-04-04T12:36:03.960" v="6753" actId="478"/>
          <ac:spMkLst>
            <pc:docMk/>
            <pc:sldMk cId="2149904130" sldId="685"/>
            <ac:spMk id="3" creationId="{CE84B628-E404-A33D-C636-CD1DB42B2879}"/>
          </ac:spMkLst>
        </pc:spChg>
        <pc:spChg chg="add mod">
          <ac:chgData name="Xu Zhen" userId="2cb4ecb2d6de1f1a" providerId="LiveId" clId="{8A8AE608-CE4F-47A6-B03F-A67311A32AAF}" dt="2023-04-04T13:55:33.985" v="8582" actId="20577"/>
          <ac:spMkLst>
            <pc:docMk/>
            <pc:sldMk cId="2149904130" sldId="685"/>
            <ac:spMk id="4" creationId="{8A56C7A9-D410-C372-DE4C-97EA2B40D2B2}"/>
          </ac:spMkLst>
        </pc:spChg>
        <pc:spChg chg="add del">
          <ac:chgData name="Xu Zhen" userId="2cb4ecb2d6de1f1a" providerId="LiveId" clId="{8A8AE608-CE4F-47A6-B03F-A67311A32AAF}" dt="2023-04-04T12:58:24.447" v="7188"/>
          <ac:spMkLst>
            <pc:docMk/>
            <pc:sldMk cId="2149904130" sldId="685"/>
            <ac:spMk id="7" creationId="{733DC4E5-6CC7-B0D7-73AD-7E2F75249BD0}"/>
          </ac:spMkLst>
        </pc:spChg>
        <pc:spChg chg="add del">
          <ac:chgData name="Xu Zhen" userId="2cb4ecb2d6de1f1a" providerId="LiveId" clId="{8A8AE608-CE4F-47A6-B03F-A67311A32AAF}" dt="2023-04-04T12:58:31.068" v="7190" actId="478"/>
          <ac:spMkLst>
            <pc:docMk/>
            <pc:sldMk cId="2149904130" sldId="685"/>
            <ac:spMk id="8" creationId="{3730AFDE-6F4C-8313-BEE6-68151224873B}"/>
          </ac:spMkLst>
        </pc:spChg>
        <pc:spChg chg="add del">
          <ac:chgData name="Xu Zhen" userId="2cb4ecb2d6de1f1a" providerId="LiveId" clId="{8A8AE608-CE4F-47A6-B03F-A67311A32AAF}" dt="2023-04-04T13:02:12.906" v="7443"/>
          <ac:spMkLst>
            <pc:docMk/>
            <pc:sldMk cId="2149904130" sldId="685"/>
            <ac:spMk id="9" creationId="{41815047-4E3E-5F97-3E99-6B3BDDC49A2C}"/>
          </ac:spMkLst>
        </pc:spChg>
        <pc:picChg chg="add mod">
          <ac:chgData name="Xu Zhen" userId="2cb4ecb2d6de1f1a" providerId="LiveId" clId="{8A8AE608-CE4F-47A6-B03F-A67311A32AAF}" dt="2023-04-04T13:02:30.030" v="7460" actId="1076"/>
          <ac:picMkLst>
            <pc:docMk/>
            <pc:sldMk cId="2149904130" sldId="685"/>
            <ac:picMk id="6" creationId="{15CF63F3-07EE-AE1B-F25E-0B83956CC4C0}"/>
          </ac:picMkLst>
        </pc:pic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78712B47-5446-4550-8AC4-605CE396DB62}" type="datetimeFigureOut">
              <a:rPr lang="en-US" smtClean="0"/>
              <a:t>4/4/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1A001C95-8DA9-4844-9642-35C5B6EE1202}" type="slidenum">
              <a:rPr lang="en-US" smtClean="0"/>
              <a:t>‹#›</a:t>
            </a:fld>
            <a:endParaRPr lang="en-US"/>
          </a:p>
        </p:txBody>
      </p:sp>
    </p:spTree>
    <p:extLst>
      <p:ext uri="{BB962C8B-B14F-4D97-AF65-F5344CB8AC3E}">
        <p14:creationId xmlns:p14="http://schemas.microsoft.com/office/powerpoint/2010/main" val="103217829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6E6F73"/>
                </a:solidFill>
                <a:effectLst/>
                <a:uLnTx/>
                <a:uFillTx/>
                <a:latin typeface="Trebuchet MS"/>
                <a:ea typeface="+mn-ea"/>
                <a:cs typeface="+mn-cs"/>
              </a:rPr>
              <a:t>Notes view: </a:t>
            </a:r>
            <a:fld id="{128CEAFE-FA94-43E5-B0FF-D47E1CCDD1B4}" type="slidenum">
              <a:rPr kumimoji="0" lang="en-US" sz="800" b="0" i="0" u="none" strike="noStrike" kern="1200" cap="none" spc="0" normalizeH="0" baseline="0" noProof="0" smtClean="0">
                <a:ln>
                  <a:noFill/>
                </a:ln>
                <a:solidFill>
                  <a:srgbClr val="6E6F73"/>
                </a:solidFill>
                <a:effectLst/>
                <a:uLnTx/>
                <a:uFillTx/>
                <a:latin typeface="Trebuchet MS"/>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800" b="0" i="0" u="none" strike="noStrike" kern="1200" cap="none" spc="0" normalizeH="0" baseline="0" noProof="0">
              <a:ln>
                <a:noFill/>
              </a:ln>
              <a:solidFill>
                <a:srgbClr val="6E6F73"/>
              </a:solidFill>
              <a:effectLst/>
              <a:uLnTx/>
              <a:uFillTx/>
              <a:latin typeface="Trebuchet MS"/>
              <a:ea typeface="+mn-ea"/>
              <a:cs typeface="+mn-cs"/>
            </a:endParaRPr>
          </a:p>
        </p:txBody>
      </p:sp>
    </p:spTree>
    <p:extLst>
      <p:ext uri="{BB962C8B-B14F-4D97-AF65-F5344CB8AC3E}">
        <p14:creationId xmlns:p14="http://schemas.microsoft.com/office/powerpoint/2010/main" val="31375123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r>
              <a:rPr lang="en-US"/>
              <a:t>Notes view: </a:t>
            </a:r>
            <a:fld id="{128CEAFE-FA94-43E5-B0FF-D47E1CCDD1B4}" type="slidenum">
              <a:rPr lang="en-US" smtClean="0"/>
              <a:pPr/>
              <a:t>3</a:t>
            </a:fld>
            <a:endParaRPr lang="en-US"/>
          </a:p>
        </p:txBody>
      </p:sp>
    </p:spTree>
    <p:extLst>
      <p:ext uri="{BB962C8B-B14F-4D97-AF65-F5344CB8AC3E}">
        <p14:creationId xmlns:p14="http://schemas.microsoft.com/office/powerpoint/2010/main" val="210934842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2.xml"/><Relationship Id="rId1" Type="http://schemas.openxmlformats.org/officeDocument/2006/relationships/tags" Target="../tags/tag2.xml"/><Relationship Id="rId4" Type="http://schemas.openxmlformats.org/officeDocument/2006/relationships/image" Target="../media/image3.jpg"/></Relationships>
</file>

<file path=ppt/slideLayouts/_rels/slideLayout13.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3.xml"/></Relationships>
</file>

<file path=ppt/slideLayouts/_rels/slideLayout14.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4.xml"/></Relationships>
</file>

<file path=ppt/slideLayouts/_rels/slideLayout15.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5.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2.xml"/><Relationship Id="rId1" Type="http://schemas.openxmlformats.org/officeDocument/2006/relationships/tags" Target="../tags/tag6.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2.xml"/><Relationship Id="rId1" Type="http://schemas.openxmlformats.org/officeDocument/2006/relationships/tags" Target="../tags/tag7.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2.xml"/><Relationship Id="rId1" Type="http://schemas.openxmlformats.org/officeDocument/2006/relationships/tags" Target="../tags/tag8.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2.xml"/><Relationship Id="rId1" Type="http://schemas.openxmlformats.org/officeDocument/2006/relationships/tags" Target="../tags/tag9.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2.xml"/><Relationship Id="rId1" Type="http://schemas.openxmlformats.org/officeDocument/2006/relationships/tags" Target="../tags/tag10.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2.xml"/><Relationship Id="rId1" Type="http://schemas.openxmlformats.org/officeDocument/2006/relationships/tags" Target="../tags/tag11.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2.xml"/><Relationship Id="rId1" Type="http://schemas.openxmlformats.org/officeDocument/2006/relationships/tags" Target="../tags/tag12.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2.xml"/><Relationship Id="rId1" Type="http://schemas.openxmlformats.org/officeDocument/2006/relationships/tags" Target="../tags/tag13.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2.xml"/><Relationship Id="rId1" Type="http://schemas.openxmlformats.org/officeDocument/2006/relationships/tags" Target="../tags/tag14.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2.xml"/><Relationship Id="rId1" Type="http://schemas.openxmlformats.org/officeDocument/2006/relationships/tags" Target="../tags/tag15.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2.xml"/><Relationship Id="rId1" Type="http://schemas.openxmlformats.org/officeDocument/2006/relationships/tags" Target="../tags/tag16.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2.xml"/><Relationship Id="rId1" Type="http://schemas.openxmlformats.org/officeDocument/2006/relationships/tags" Target="../tags/tag17.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2.xml"/><Relationship Id="rId1" Type="http://schemas.openxmlformats.org/officeDocument/2006/relationships/tags" Target="../tags/tag18.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19.xml"/></Relationships>
</file>

<file path=ppt/slideLayouts/_rels/slideLayout31.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20.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21.xml"/></Relationships>
</file>

<file path=ppt/slideLayouts/_rels/slideLayout34.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22.xml"/></Relationships>
</file>

<file path=ppt/slideLayouts/_rels/slideLayout35.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23.xml"/></Relationships>
</file>

<file path=ppt/slideLayouts/_rels/slideLayout36.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24.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slideMaster" Target="../slideMasters/slideMaster2.xml"/><Relationship Id="rId1" Type="http://schemas.openxmlformats.org/officeDocument/2006/relationships/tags" Target="../tags/tag25.xml"/></Relationships>
</file>

<file path=ppt/slideLayouts/_rels/slideLayout38.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26.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2.xml"/><Relationship Id="rId1" Type="http://schemas.openxmlformats.org/officeDocument/2006/relationships/tags" Target="../tags/tag27.xml"/><Relationship Id="rId4" Type="http://schemas.openxmlformats.org/officeDocument/2006/relationships/image" Target="../media/image3.jpg"/></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28.xml"/></Relationships>
</file>

<file path=ppt/slideLayouts/_rels/slideLayout41.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29.xml"/></Relationships>
</file>

<file path=ppt/slideLayouts/_rels/slideLayout42.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30.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2.xml"/><Relationship Id="rId1" Type="http://schemas.openxmlformats.org/officeDocument/2006/relationships/tags" Target="../tags/tag31.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2.xml"/><Relationship Id="rId1" Type="http://schemas.openxmlformats.org/officeDocument/2006/relationships/tags" Target="../tags/tag32.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2.xml"/><Relationship Id="rId1" Type="http://schemas.openxmlformats.org/officeDocument/2006/relationships/tags" Target="../tags/tag33.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2.xml"/><Relationship Id="rId1" Type="http://schemas.openxmlformats.org/officeDocument/2006/relationships/tags" Target="../tags/tag34.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2.xml"/><Relationship Id="rId1" Type="http://schemas.openxmlformats.org/officeDocument/2006/relationships/tags" Target="../tags/tag35.xml"/></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2.xml"/><Relationship Id="rId1" Type="http://schemas.openxmlformats.org/officeDocument/2006/relationships/tags" Target="../tags/tag36.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2.xml"/><Relationship Id="rId1" Type="http://schemas.openxmlformats.org/officeDocument/2006/relationships/tags" Target="../tags/tag37.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2.xml"/><Relationship Id="rId1" Type="http://schemas.openxmlformats.org/officeDocument/2006/relationships/tags" Target="../tags/tag38.xml"/></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2.xml"/><Relationship Id="rId1" Type="http://schemas.openxmlformats.org/officeDocument/2006/relationships/tags" Target="../tags/tag39.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2.xml"/><Relationship Id="rId1" Type="http://schemas.openxmlformats.org/officeDocument/2006/relationships/tags" Target="../tags/tag40.xml"/></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2.xml"/><Relationship Id="rId1" Type="http://schemas.openxmlformats.org/officeDocument/2006/relationships/tags" Target="../tags/tag41.xml"/></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2.xml"/><Relationship Id="rId1" Type="http://schemas.openxmlformats.org/officeDocument/2006/relationships/tags" Target="../tags/tag42.xml"/></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2.xml"/><Relationship Id="rId1" Type="http://schemas.openxmlformats.org/officeDocument/2006/relationships/tags" Target="../tags/tag43.xml"/></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2.xml"/><Relationship Id="rId1" Type="http://schemas.openxmlformats.org/officeDocument/2006/relationships/tags" Target="../tags/tag44.xml"/></Relationships>
</file>

<file path=ppt/slideLayouts/_rels/slideLayout58.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45.xml"/></Relationships>
</file>

<file path=ppt/slideLayouts/_rels/slideLayout59.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46.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47.xml"/></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2.xml"/><Relationship Id="rId1" Type="http://schemas.openxmlformats.org/officeDocument/2006/relationships/tags" Target="../tags/tag48.xml"/></Relationships>
</file>

<file path=ppt/slideLayouts/_rels/slideLayout63.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49.xml"/></Relationships>
</file>

<file path=ppt/slideLayouts/_rels/slideLayout64.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50.xml"/></Relationships>
</file>

<file path=ppt/slideLayouts/_rels/slideLayout65.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51.xml"/></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slideMaster" Target="../slideMasters/slideMaster2.xml"/><Relationship Id="rId1" Type="http://schemas.openxmlformats.org/officeDocument/2006/relationships/tags" Target="../tags/tag52.xml"/></Relationships>
</file>

<file path=ppt/slideLayouts/_rels/slideLayout67.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53.xml"/></Relationships>
</file>

<file path=ppt/slideLayouts/_rels/slideLayout6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5.xml"/><Relationship Id="rId1" Type="http://schemas.openxmlformats.org/officeDocument/2006/relationships/tags" Target="../tags/tag54.x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69.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2.xml"/><Relationship Id="rId1" Type="http://schemas.openxmlformats.org/officeDocument/2006/relationships/tags" Target="../tags/tag56.xml"/><Relationship Id="rId4" Type="http://schemas.openxmlformats.org/officeDocument/2006/relationships/image" Target="../media/image1.emf"/></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2.xml"/><Relationship Id="rId1" Type="http://schemas.openxmlformats.org/officeDocument/2006/relationships/tags" Target="../tags/tag57.xml"/><Relationship Id="rId4" Type="http://schemas.openxmlformats.org/officeDocument/2006/relationships/image" Target="../media/image1.emf"/></Relationships>
</file>

<file path=ppt/slideLayouts/_rels/slideLayout7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9.xml"/><Relationship Id="rId1" Type="http://schemas.openxmlformats.org/officeDocument/2006/relationships/tags" Target="../tags/tag58.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7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1.xml"/><Relationship Id="rId1" Type="http://schemas.openxmlformats.org/officeDocument/2006/relationships/tags" Target="../tags/tag60.x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73.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2.xml"/><Relationship Id="rId1" Type="http://schemas.openxmlformats.org/officeDocument/2006/relationships/tags" Target="../tags/tag62.xml"/><Relationship Id="rId4" Type="http://schemas.openxmlformats.org/officeDocument/2006/relationships/image" Target="../media/image1.emf"/></Relationships>
</file>

<file path=ppt/slideLayouts/_rels/slideLayout74.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2.xml"/><Relationship Id="rId1" Type="http://schemas.openxmlformats.org/officeDocument/2006/relationships/tags" Target="../tags/tag63.xml"/><Relationship Id="rId4" Type="http://schemas.openxmlformats.org/officeDocument/2006/relationships/image" Target="../media/image1.emf"/></Relationships>
</file>

<file path=ppt/slideLayouts/_rels/slideLayout7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5.xml"/><Relationship Id="rId1" Type="http://schemas.openxmlformats.org/officeDocument/2006/relationships/tags" Target="../tags/tag64.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76.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2.xml"/><Relationship Id="rId1" Type="http://schemas.openxmlformats.org/officeDocument/2006/relationships/tags" Target="../tags/tag66.xml"/><Relationship Id="rId5" Type="http://schemas.openxmlformats.org/officeDocument/2006/relationships/image" Target="../media/image4.png"/><Relationship Id="rId4" Type="http://schemas.openxmlformats.org/officeDocument/2006/relationships/image" Target="../media/image1.emf"/></Relationships>
</file>

<file path=ppt/slideLayouts/_rels/slideLayout7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8.xml"/><Relationship Id="rId1" Type="http://schemas.openxmlformats.org/officeDocument/2006/relationships/tags" Target="../tags/tag67.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D5984CC-A95C-84DB-B95E-731A4DE92C90}"/>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6BA71EE1-E7A9-F524-130D-CA207F523BC3}"/>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4F6CD632-C89A-E623-86C1-B24176049B08}"/>
              </a:ext>
            </a:extLst>
          </p:cNvPr>
          <p:cNvSpPr>
            <a:spLocks noGrp="1"/>
          </p:cNvSpPr>
          <p:nvPr>
            <p:ph type="dt" sz="half" idx="10"/>
          </p:nvPr>
        </p:nvSpPr>
        <p:spPr/>
        <p:txBody>
          <a:bodyPr/>
          <a:lstStyle/>
          <a:p>
            <a:fld id="{DCAFD43A-663F-4A92-A292-D8EDA73F00B6}" type="datetimeFigureOut">
              <a:rPr lang="en-US" smtClean="0"/>
              <a:t>4/4/2023</a:t>
            </a:fld>
            <a:endParaRPr lang="en-US"/>
          </a:p>
        </p:txBody>
      </p:sp>
      <p:sp>
        <p:nvSpPr>
          <p:cNvPr id="5" name="Footer Placeholder 4">
            <a:extLst>
              <a:ext uri="{FF2B5EF4-FFF2-40B4-BE49-F238E27FC236}">
                <a16:creationId xmlns:a16="http://schemas.microsoft.com/office/drawing/2014/main" id="{90CE1236-31DA-06A2-477B-2DE614F6D1D8}"/>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350CEFFE-BDF8-2A19-B926-A7994E38960E}"/>
              </a:ext>
            </a:extLst>
          </p:cNvPr>
          <p:cNvSpPr>
            <a:spLocks noGrp="1"/>
          </p:cNvSpPr>
          <p:nvPr>
            <p:ph type="sldNum" sz="quarter" idx="12"/>
          </p:nvPr>
        </p:nvSpPr>
        <p:spPr/>
        <p:txBody>
          <a:bodyPr/>
          <a:lstStyle/>
          <a:p>
            <a:fld id="{2EE30602-477F-49EB-9371-72C7D77D4B6F}" type="slidenum">
              <a:rPr lang="en-US" smtClean="0"/>
              <a:t>‹#›</a:t>
            </a:fld>
            <a:endParaRPr lang="en-US"/>
          </a:p>
        </p:txBody>
      </p:sp>
    </p:spTree>
    <p:extLst>
      <p:ext uri="{BB962C8B-B14F-4D97-AF65-F5344CB8AC3E}">
        <p14:creationId xmlns:p14="http://schemas.microsoft.com/office/powerpoint/2010/main" val="40938185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B937B8E-6C43-89CF-3655-EAD8C8334663}"/>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998D331F-1085-B00E-9714-E99BC4242D2B}"/>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419177E1-8F02-EA09-7837-5E1515B01E15}"/>
              </a:ext>
            </a:extLst>
          </p:cNvPr>
          <p:cNvSpPr>
            <a:spLocks noGrp="1"/>
          </p:cNvSpPr>
          <p:nvPr>
            <p:ph type="dt" sz="half" idx="10"/>
          </p:nvPr>
        </p:nvSpPr>
        <p:spPr/>
        <p:txBody>
          <a:bodyPr/>
          <a:lstStyle/>
          <a:p>
            <a:fld id="{DCAFD43A-663F-4A92-A292-D8EDA73F00B6}" type="datetimeFigureOut">
              <a:rPr lang="en-US" smtClean="0"/>
              <a:t>4/4/2023</a:t>
            </a:fld>
            <a:endParaRPr lang="en-US"/>
          </a:p>
        </p:txBody>
      </p:sp>
      <p:sp>
        <p:nvSpPr>
          <p:cNvPr id="5" name="Footer Placeholder 4">
            <a:extLst>
              <a:ext uri="{FF2B5EF4-FFF2-40B4-BE49-F238E27FC236}">
                <a16:creationId xmlns:a16="http://schemas.microsoft.com/office/drawing/2014/main" id="{766B710D-A56B-98ED-92B2-72F6AAE2442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7E98485A-3DB5-A771-6C58-EFC11D76FEA4}"/>
              </a:ext>
            </a:extLst>
          </p:cNvPr>
          <p:cNvSpPr>
            <a:spLocks noGrp="1"/>
          </p:cNvSpPr>
          <p:nvPr>
            <p:ph type="sldNum" sz="quarter" idx="12"/>
          </p:nvPr>
        </p:nvSpPr>
        <p:spPr/>
        <p:txBody>
          <a:bodyPr/>
          <a:lstStyle/>
          <a:p>
            <a:fld id="{2EE30602-477F-49EB-9371-72C7D77D4B6F}" type="slidenum">
              <a:rPr lang="en-US" smtClean="0"/>
              <a:t>‹#›</a:t>
            </a:fld>
            <a:endParaRPr lang="en-US"/>
          </a:p>
        </p:txBody>
      </p:sp>
    </p:spTree>
    <p:extLst>
      <p:ext uri="{BB962C8B-B14F-4D97-AF65-F5344CB8AC3E}">
        <p14:creationId xmlns:p14="http://schemas.microsoft.com/office/powerpoint/2010/main" val="327248565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78C7AEF3-B6DE-4F18-27D4-074DA4DD211B}"/>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6D486423-8BAA-C854-4C44-05B075674B41}"/>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0221503B-DE62-9025-B1B9-CABF4DBD49F8}"/>
              </a:ext>
            </a:extLst>
          </p:cNvPr>
          <p:cNvSpPr>
            <a:spLocks noGrp="1"/>
          </p:cNvSpPr>
          <p:nvPr>
            <p:ph type="dt" sz="half" idx="10"/>
          </p:nvPr>
        </p:nvSpPr>
        <p:spPr/>
        <p:txBody>
          <a:bodyPr/>
          <a:lstStyle/>
          <a:p>
            <a:fld id="{DCAFD43A-663F-4A92-A292-D8EDA73F00B6}" type="datetimeFigureOut">
              <a:rPr lang="en-US" smtClean="0"/>
              <a:t>4/4/2023</a:t>
            </a:fld>
            <a:endParaRPr lang="en-US"/>
          </a:p>
        </p:txBody>
      </p:sp>
      <p:sp>
        <p:nvSpPr>
          <p:cNvPr id="5" name="Footer Placeholder 4">
            <a:extLst>
              <a:ext uri="{FF2B5EF4-FFF2-40B4-BE49-F238E27FC236}">
                <a16:creationId xmlns:a16="http://schemas.microsoft.com/office/drawing/2014/main" id="{FC8F28B8-351F-3D0D-84A8-4F1F866FCF3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73001770-BF6F-DDBE-5D2F-FFF67210EDB7}"/>
              </a:ext>
            </a:extLst>
          </p:cNvPr>
          <p:cNvSpPr>
            <a:spLocks noGrp="1"/>
          </p:cNvSpPr>
          <p:nvPr>
            <p:ph type="sldNum" sz="quarter" idx="12"/>
          </p:nvPr>
        </p:nvSpPr>
        <p:spPr/>
        <p:txBody>
          <a:bodyPr/>
          <a:lstStyle/>
          <a:p>
            <a:fld id="{2EE30602-477F-49EB-9371-72C7D77D4B6F}" type="slidenum">
              <a:rPr lang="en-US" smtClean="0"/>
              <a:t>‹#›</a:t>
            </a:fld>
            <a:endParaRPr lang="en-US"/>
          </a:p>
        </p:txBody>
      </p:sp>
    </p:spTree>
    <p:extLst>
      <p:ext uri="{BB962C8B-B14F-4D97-AF65-F5344CB8AC3E}">
        <p14:creationId xmlns:p14="http://schemas.microsoft.com/office/powerpoint/2010/main" val="307981413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pic>
        <p:nvPicPr>
          <p:cNvPr id="18" name="Picture 17"/>
          <p:cNvPicPr>
            <a:picLocks noChangeAspect="1"/>
          </p:cNvPicPr>
          <p:nvPr userDrawn="1"/>
        </p:nvPicPr>
        <p:blipFill rotWithShape="1">
          <a:blip r:embed="rId3">
            <a:extLst>
              <a:ext uri="{28A0092B-C50C-407E-A947-70E740481C1C}">
                <a14:useLocalDpi xmlns:a14="http://schemas.microsoft.com/office/drawing/2010/main" val="0"/>
              </a:ext>
            </a:extLst>
          </a:blip>
          <a:srcRect l="1731" t="8741" r="102" b="27"/>
          <a:stretch/>
        </p:blipFill>
        <p:spPr>
          <a:xfrm rot="16200000" flipH="1">
            <a:off x="8471921" y="1973272"/>
            <a:ext cx="580573" cy="6858000"/>
          </a:xfrm>
          <a:prstGeom prst="rect">
            <a:avLst/>
          </a:prstGeom>
        </p:spPr>
      </p:pic>
      <p:pic>
        <p:nvPicPr>
          <p:cNvPr id="15" name="TitleAndEndImages"/>
          <p:cNvPicPr>
            <a:picLocks noChangeAspect="1"/>
          </p:cNvPicPr>
          <p:nvPr userDrawn="1">
            <p:custDataLst>
              <p:tags r:id="rId1"/>
            </p:custDataLst>
          </p:nvPr>
        </p:nvPicPr>
        <p:blipFill rotWithShape="1">
          <a:blip r:embed="rId4">
            <a:extLst>
              <a:ext uri="{28A0092B-C50C-407E-A947-70E740481C1C}">
                <a14:useLocalDpi xmlns:a14="http://schemas.microsoft.com/office/drawing/2010/main" val="0"/>
              </a:ext>
            </a:extLst>
          </a:blip>
          <a:srcRect b="23056"/>
          <a:stretch/>
        </p:blipFill>
        <p:spPr>
          <a:xfrm>
            <a:off x="0" y="0"/>
            <a:ext cx="12192000" cy="5276850"/>
          </a:xfrm>
          <a:prstGeom prst="rect">
            <a:avLst/>
          </a:prstGeom>
        </p:spPr>
      </p:pic>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Logo</a:t>
            </a:r>
          </a:p>
        </p:txBody>
      </p:sp>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957600"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grpSp>
        <p:nvGrpSpPr>
          <p:cNvPr id="23" name="Group 22"/>
          <p:cNvGrpSpPr/>
          <p:nvPr userDrawn="1"/>
        </p:nvGrpSpPr>
        <p:grpSpPr>
          <a:xfrm>
            <a:off x="957600" y="946936"/>
            <a:ext cx="2887436" cy="894745"/>
            <a:chOff x="848180" y="896938"/>
            <a:chExt cx="2178050" cy="674924"/>
          </a:xfrm>
          <a:solidFill>
            <a:schemeClr val="bg1"/>
          </a:solidFill>
        </p:grpSpPr>
        <p:sp>
          <p:nvSpPr>
            <p:cNvPr id="24" name="Freeform 5"/>
            <p:cNvSpPr>
              <a:spLocks noEditPoints="1"/>
            </p:cNvSpPr>
            <p:nvPr/>
          </p:nvSpPr>
          <p:spPr bwMode="auto">
            <a:xfrm>
              <a:off x="848180" y="896938"/>
              <a:ext cx="997552" cy="414102"/>
            </a:xfrm>
            <a:custGeom>
              <a:avLst/>
              <a:gdLst>
                <a:gd name="T0" fmla="*/ 39 w 340"/>
                <a:gd name="T1" fmla="*/ 10 h 140"/>
                <a:gd name="T2" fmla="*/ 54 w 340"/>
                <a:gd name="T3" fmla="*/ 8 h 140"/>
                <a:gd name="T4" fmla="*/ 47 w 340"/>
                <a:gd name="T5" fmla="*/ 64 h 140"/>
                <a:gd name="T6" fmla="*/ 60 w 340"/>
                <a:gd name="T7" fmla="*/ 132 h 140"/>
                <a:gd name="T8" fmla="*/ 39 w 340"/>
                <a:gd name="T9" fmla="*/ 69 h 140"/>
                <a:gd name="T10" fmla="*/ 92 w 340"/>
                <a:gd name="T11" fmla="*/ 100 h 140"/>
                <a:gd name="T12" fmla="*/ 285 w 340"/>
                <a:gd name="T13" fmla="*/ 78 h 140"/>
                <a:gd name="T14" fmla="*/ 286 w 340"/>
                <a:gd name="T15" fmla="*/ 82 h 140"/>
                <a:gd name="T16" fmla="*/ 306 w 340"/>
                <a:gd name="T17" fmla="*/ 113 h 140"/>
                <a:gd name="T18" fmla="*/ 238 w 340"/>
                <a:gd name="T19" fmla="*/ 71 h 140"/>
                <a:gd name="T20" fmla="*/ 315 w 340"/>
                <a:gd name="T21" fmla="*/ 40 h 140"/>
                <a:gd name="T22" fmla="*/ 318 w 340"/>
                <a:gd name="T23" fmla="*/ 41 h 140"/>
                <a:gd name="T24" fmla="*/ 317 w 340"/>
                <a:gd name="T25" fmla="*/ 1 h 140"/>
                <a:gd name="T26" fmla="*/ 313 w 340"/>
                <a:gd name="T27" fmla="*/ 12 h 140"/>
                <a:gd name="T28" fmla="*/ 278 w 340"/>
                <a:gd name="T29" fmla="*/ 0 h 140"/>
                <a:gd name="T30" fmla="*/ 216 w 340"/>
                <a:gd name="T31" fmla="*/ 90 h 140"/>
                <a:gd name="T32" fmla="*/ 177 w 340"/>
                <a:gd name="T33" fmla="*/ 135 h 140"/>
                <a:gd name="T34" fmla="*/ 174 w 340"/>
                <a:gd name="T35" fmla="*/ 5 h 140"/>
                <a:gd name="T36" fmla="*/ 210 w 340"/>
                <a:gd name="T37" fmla="*/ 34 h 140"/>
                <a:gd name="T38" fmla="*/ 211 w 340"/>
                <a:gd name="T39" fmla="*/ 1 h 140"/>
                <a:gd name="T40" fmla="*/ 208 w 340"/>
                <a:gd name="T41" fmla="*/ 2 h 140"/>
                <a:gd name="T42" fmla="*/ 206 w 340"/>
                <a:gd name="T43" fmla="*/ 12 h 140"/>
                <a:gd name="T44" fmla="*/ 110 w 340"/>
                <a:gd name="T45" fmla="*/ 71 h 140"/>
                <a:gd name="T46" fmla="*/ 110 w 340"/>
                <a:gd name="T47" fmla="*/ 82 h 140"/>
                <a:gd name="T48" fmla="*/ 69 w 340"/>
                <a:gd name="T49" fmla="*/ 65 h 140"/>
                <a:gd name="T50" fmla="*/ 53 w 340"/>
                <a:gd name="T51" fmla="*/ 2 h 140"/>
                <a:gd name="T52" fmla="*/ 0 w 340"/>
                <a:gd name="T53" fmla="*/ 2 h 140"/>
                <a:gd name="T54" fmla="*/ 1 w 340"/>
                <a:gd name="T55" fmla="*/ 6 h 140"/>
                <a:gd name="T56" fmla="*/ 18 w 340"/>
                <a:gd name="T57" fmla="*/ 106 h 140"/>
                <a:gd name="T58" fmla="*/ 0 w 340"/>
                <a:gd name="T59" fmla="*/ 135 h 140"/>
                <a:gd name="T60" fmla="*/ 28 w 340"/>
                <a:gd name="T61" fmla="*/ 137 h 140"/>
                <a:gd name="T62" fmla="*/ 115 w 340"/>
                <a:gd name="T63" fmla="*/ 101 h 140"/>
                <a:gd name="T64" fmla="*/ 177 w 340"/>
                <a:gd name="T65" fmla="*/ 140 h 140"/>
                <a:gd name="T66" fmla="*/ 214 w 340"/>
                <a:gd name="T67" fmla="*/ 127 h 140"/>
                <a:gd name="T68" fmla="*/ 218 w 340"/>
                <a:gd name="T69" fmla="*/ 138 h 140"/>
                <a:gd name="T70" fmla="*/ 219 w 340"/>
                <a:gd name="T71" fmla="*/ 101 h 140"/>
                <a:gd name="T72" fmla="*/ 279 w 340"/>
                <a:gd name="T73" fmla="*/ 140 h 140"/>
                <a:gd name="T74" fmla="*/ 328 w 340"/>
                <a:gd name="T75" fmla="*/ 121 h 140"/>
                <a:gd name="T76" fmla="*/ 327 w 340"/>
                <a:gd name="T77" fmla="*/ 101 h 140"/>
                <a:gd name="T78" fmla="*/ 340 w 340"/>
                <a:gd name="T79" fmla="*/ 80 h 140"/>
                <a:gd name="T80" fmla="*/ 315 w 340"/>
                <a:gd name="T81" fmla="*/ 78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40" h="140">
                  <a:moveTo>
                    <a:pt x="39" y="64"/>
                  </a:moveTo>
                  <a:cubicBezTo>
                    <a:pt x="39" y="10"/>
                    <a:pt x="39" y="10"/>
                    <a:pt x="39" y="10"/>
                  </a:cubicBezTo>
                  <a:cubicBezTo>
                    <a:pt x="39" y="9"/>
                    <a:pt x="39" y="8"/>
                    <a:pt x="41" y="8"/>
                  </a:cubicBezTo>
                  <a:cubicBezTo>
                    <a:pt x="44" y="8"/>
                    <a:pt x="51" y="8"/>
                    <a:pt x="54" y="8"/>
                  </a:cubicBezTo>
                  <a:cubicBezTo>
                    <a:pt x="70" y="8"/>
                    <a:pt x="81" y="17"/>
                    <a:pt x="81" y="36"/>
                  </a:cubicBezTo>
                  <a:cubicBezTo>
                    <a:pt x="81" y="57"/>
                    <a:pt x="68" y="64"/>
                    <a:pt x="47" y="64"/>
                  </a:cubicBezTo>
                  <a:lnTo>
                    <a:pt x="39" y="64"/>
                  </a:lnTo>
                  <a:close/>
                  <a:moveTo>
                    <a:pt x="60" y="132"/>
                  </a:moveTo>
                  <a:cubicBezTo>
                    <a:pt x="42" y="132"/>
                    <a:pt x="39" y="129"/>
                    <a:pt x="39" y="104"/>
                  </a:cubicBezTo>
                  <a:cubicBezTo>
                    <a:pt x="39" y="69"/>
                    <a:pt x="39" y="69"/>
                    <a:pt x="39" y="69"/>
                  </a:cubicBezTo>
                  <a:cubicBezTo>
                    <a:pt x="47" y="69"/>
                    <a:pt x="47" y="69"/>
                    <a:pt x="47" y="69"/>
                  </a:cubicBezTo>
                  <a:cubicBezTo>
                    <a:pt x="71" y="69"/>
                    <a:pt x="92" y="74"/>
                    <a:pt x="92" y="100"/>
                  </a:cubicBezTo>
                  <a:cubicBezTo>
                    <a:pt x="92" y="120"/>
                    <a:pt x="80" y="132"/>
                    <a:pt x="60" y="132"/>
                  </a:cubicBezTo>
                  <a:close/>
                  <a:moveTo>
                    <a:pt x="285" y="78"/>
                  </a:moveTo>
                  <a:cubicBezTo>
                    <a:pt x="285" y="80"/>
                    <a:pt x="285" y="80"/>
                    <a:pt x="285" y="80"/>
                  </a:cubicBezTo>
                  <a:cubicBezTo>
                    <a:pt x="285" y="81"/>
                    <a:pt x="285" y="82"/>
                    <a:pt x="286" y="82"/>
                  </a:cubicBezTo>
                  <a:cubicBezTo>
                    <a:pt x="306" y="82"/>
                    <a:pt x="306" y="84"/>
                    <a:pt x="306" y="100"/>
                  </a:cubicBezTo>
                  <a:cubicBezTo>
                    <a:pt x="306" y="113"/>
                    <a:pt x="306" y="113"/>
                    <a:pt x="306" y="113"/>
                  </a:cubicBezTo>
                  <a:cubicBezTo>
                    <a:pt x="306" y="126"/>
                    <a:pt x="298" y="135"/>
                    <a:pt x="280" y="135"/>
                  </a:cubicBezTo>
                  <a:cubicBezTo>
                    <a:pt x="251" y="135"/>
                    <a:pt x="238" y="106"/>
                    <a:pt x="238" y="71"/>
                  </a:cubicBezTo>
                  <a:cubicBezTo>
                    <a:pt x="238" y="37"/>
                    <a:pt x="247" y="5"/>
                    <a:pt x="280" y="5"/>
                  </a:cubicBezTo>
                  <a:cubicBezTo>
                    <a:pt x="298" y="5"/>
                    <a:pt x="313" y="17"/>
                    <a:pt x="315" y="40"/>
                  </a:cubicBezTo>
                  <a:cubicBezTo>
                    <a:pt x="315" y="41"/>
                    <a:pt x="315" y="41"/>
                    <a:pt x="316" y="41"/>
                  </a:cubicBezTo>
                  <a:cubicBezTo>
                    <a:pt x="318" y="41"/>
                    <a:pt x="318" y="41"/>
                    <a:pt x="318" y="41"/>
                  </a:cubicBezTo>
                  <a:cubicBezTo>
                    <a:pt x="318" y="32"/>
                    <a:pt x="318" y="10"/>
                    <a:pt x="318" y="1"/>
                  </a:cubicBezTo>
                  <a:cubicBezTo>
                    <a:pt x="317" y="1"/>
                    <a:pt x="317" y="1"/>
                    <a:pt x="317" y="1"/>
                  </a:cubicBezTo>
                  <a:cubicBezTo>
                    <a:pt x="315" y="1"/>
                    <a:pt x="315" y="1"/>
                    <a:pt x="315" y="2"/>
                  </a:cubicBezTo>
                  <a:cubicBezTo>
                    <a:pt x="313" y="12"/>
                    <a:pt x="313" y="12"/>
                    <a:pt x="313" y="12"/>
                  </a:cubicBezTo>
                  <a:cubicBezTo>
                    <a:pt x="313" y="12"/>
                    <a:pt x="313" y="12"/>
                    <a:pt x="313" y="12"/>
                  </a:cubicBezTo>
                  <a:cubicBezTo>
                    <a:pt x="303" y="3"/>
                    <a:pt x="290" y="0"/>
                    <a:pt x="278" y="0"/>
                  </a:cubicBezTo>
                  <a:cubicBezTo>
                    <a:pt x="239" y="0"/>
                    <a:pt x="214" y="32"/>
                    <a:pt x="214" y="71"/>
                  </a:cubicBezTo>
                  <a:cubicBezTo>
                    <a:pt x="214" y="78"/>
                    <a:pt x="215" y="84"/>
                    <a:pt x="216" y="90"/>
                  </a:cubicBezTo>
                  <a:cubicBezTo>
                    <a:pt x="216" y="95"/>
                    <a:pt x="216" y="95"/>
                    <a:pt x="216" y="95"/>
                  </a:cubicBezTo>
                  <a:cubicBezTo>
                    <a:pt x="213" y="125"/>
                    <a:pt x="196" y="135"/>
                    <a:pt x="177" y="135"/>
                  </a:cubicBezTo>
                  <a:cubicBezTo>
                    <a:pt x="148" y="135"/>
                    <a:pt x="134" y="108"/>
                    <a:pt x="134" y="71"/>
                  </a:cubicBezTo>
                  <a:cubicBezTo>
                    <a:pt x="134" y="37"/>
                    <a:pt x="142" y="5"/>
                    <a:pt x="174" y="5"/>
                  </a:cubicBezTo>
                  <a:cubicBezTo>
                    <a:pt x="191" y="5"/>
                    <a:pt x="205" y="15"/>
                    <a:pt x="208" y="33"/>
                  </a:cubicBezTo>
                  <a:cubicBezTo>
                    <a:pt x="208" y="34"/>
                    <a:pt x="209" y="34"/>
                    <a:pt x="210" y="34"/>
                  </a:cubicBezTo>
                  <a:cubicBezTo>
                    <a:pt x="212" y="34"/>
                    <a:pt x="212" y="34"/>
                    <a:pt x="212" y="34"/>
                  </a:cubicBezTo>
                  <a:cubicBezTo>
                    <a:pt x="212" y="25"/>
                    <a:pt x="211" y="10"/>
                    <a:pt x="211" y="1"/>
                  </a:cubicBezTo>
                  <a:cubicBezTo>
                    <a:pt x="210" y="1"/>
                    <a:pt x="210" y="1"/>
                    <a:pt x="210" y="1"/>
                  </a:cubicBezTo>
                  <a:cubicBezTo>
                    <a:pt x="209" y="1"/>
                    <a:pt x="208" y="1"/>
                    <a:pt x="208" y="2"/>
                  </a:cubicBezTo>
                  <a:cubicBezTo>
                    <a:pt x="206" y="12"/>
                    <a:pt x="206" y="12"/>
                    <a:pt x="206" y="12"/>
                  </a:cubicBezTo>
                  <a:cubicBezTo>
                    <a:pt x="206" y="12"/>
                    <a:pt x="206" y="12"/>
                    <a:pt x="206" y="12"/>
                  </a:cubicBezTo>
                  <a:cubicBezTo>
                    <a:pt x="197" y="3"/>
                    <a:pt x="184" y="0"/>
                    <a:pt x="172" y="0"/>
                  </a:cubicBezTo>
                  <a:cubicBezTo>
                    <a:pt x="135" y="0"/>
                    <a:pt x="110" y="32"/>
                    <a:pt x="110" y="71"/>
                  </a:cubicBezTo>
                  <a:cubicBezTo>
                    <a:pt x="110" y="75"/>
                    <a:pt x="110" y="78"/>
                    <a:pt x="110" y="82"/>
                  </a:cubicBezTo>
                  <a:cubicBezTo>
                    <a:pt x="110" y="82"/>
                    <a:pt x="110" y="82"/>
                    <a:pt x="110" y="82"/>
                  </a:cubicBezTo>
                  <a:cubicBezTo>
                    <a:pt x="102" y="71"/>
                    <a:pt x="87" y="66"/>
                    <a:pt x="69" y="65"/>
                  </a:cubicBezTo>
                  <a:cubicBezTo>
                    <a:pt x="69" y="65"/>
                    <a:pt x="69" y="65"/>
                    <a:pt x="69" y="65"/>
                  </a:cubicBezTo>
                  <a:cubicBezTo>
                    <a:pt x="89" y="61"/>
                    <a:pt x="102" y="51"/>
                    <a:pt x="102" y="34"/>
                  </a:cubicBezTo>
                  <a:cubicBezTo>
                    <a:pt x="102" y="9"/>
                    <a:pt x="75" y="2"/>
                    <a:pt x="53" y="2"/>
                  </a:cubicBezTo>
                  <a:cubicBezTo>
                    <a:pt x="47" y="2"/>
                    <a:pt x="34" y="3"/>
                    <a:pt x="29" y="3"/>
                  </a:cubicBezTo>
                  <a:cubicBezTo>
                    <a:pt x="20" y="3"/>
                    <a:pt x="9" y="3"/>
                    <a:pt x="0" y="2"/>
                  </a:cubicBezTo>
                  <a:cubicBezTo>
                    <a:pt x="0" y="5"/>
                    <a:pt x="0" y="5"/>
                    <a:pt x="0" y="5"/>
                  </a:cubicBezTo>
                  <a:cubicBezTo>
                    <a:pt x="0" y="6"/>
                    <a:pt x="0" y="6"/>
                    <a:pt x="1" y="6"/>
                  </a:cubicBezTo>
                  <a:cubicBezTo>
                    <a:pt x="18" y="7"/>
                    <a:pt x="18" y="9"/>
                    <a:pt x="18" y="34"/>
                  </a:cubicBezTo>
                  <a:cubicBezTo>
                    <a:pt x="18" y="106"/>
                    <a:pt x="18" y="106"/>
                    <a:pt x="18" y="106"/>
                  </a:cubicBezTo>
                  <a:cubicBezTo>
                    <a:pt x="18" y="130"/>
                    <a:pt x="18" y="133"/>
                    <a:pt x="2" y="133"/>
                  </a:cubicBezTo>
                  <a:cubicBezTo>
                    <a:pt x="0" y="133"/>
                    <a:pt x="0" y="134"/>
                    <a:pt x="0" y="135"/>
                  </a:cubicBezTo>
                  <a:cubicBezTo>
                    <a:pt x="0" y="137"/>
                    <a:pt x="0" y="137"/>
                    <a:pt x="0" y="137"/>
                  </a:cubicBezTo>
                  <a:cubicBezTo>
                    <a:pt x="9" y="137"/>
                    <a:pt x="18" y="137"/>
                    <a:pt x="28" y="137"/>
                  </a:cubicBezTo>
                  <a:cubicBezTo>
                    <a:pt x="40" y="137"/>
                    <a:pt x="45" y="137"/>
                    <a:pt x="60" y="137"/>
                  </a:cubicBezTo>
                  <a:cubicBezTo>
                    <a:pt x="93" y="137"/>
                    <a:pt x="114" y="121"/>
                    <a:pt x="115" y="101"/>
                  </a:cubicBezTo>
                  <a:cubicBezTo>
                    <a:pt x="116" y="101"/>
                    <a:pt x="116" y="101"/>
                    <a:pt x="116" y="101"/>
                  </a:cubicBezTo>
                  <a:cubicBezTo>
                    <a:pt x="126" y="125"/>
                    <a:pt x="148" y="140"/>
                    <a:pt x="177" y="140"/>
                  </a:cubicBezTo>
                  <a:cubicBezTo>
                    <a:pt x="190" y="140"/>
                    <a:pt x="203" y="136"/>
                    <a:pt x="213" y="127"/>
                  </a:cubicBezTo>
                  <a:cubicBezTo>
                    <a:pt x="214" y="127"/>
                    <a:pt x="214" y="127"/>
                    <a:pt x="214" y="127"/>
                  </a:cubicBezTo>
                  <a:cubicBezTo>
                    <a:pt x="215" y="137"/>
                    <a:pt x="215" y="137"/>
                    <a:pt x="215" y="137"/>
                  </a:cubicBezTo>
                  <a:cubicBezTo>
                    <a:pt x="216" y="138"/>
                    <a:pt x="216" y="138"/>
                    <a:pt x="218" y="138"/>
                  </a:cubicBezTo>
                  <a:cubicBezTo>
                    <a:pt x="219" y="138"/>
                    <a:pt x="219" y="138"/>
                    <a:pt x="219" y="138"/>
                  </a:cubicBezTo>
                  <a:cubicBezTo>
                    <a:pt x="219" y="132"/>
                    <a:pt x="219" y="114"/>
                    <a:pt x="219" y="101"/>
                  </a:cubicBezTo>
                  <a:cubicBezTo>
                    <a:pt x="220" y="101"/>
                    <a:pt x="220" y="101"/>
                    <a:pt x="220" y="101"/>
                  </a:cubicBezTo>
                  <a:cubicBezTo>
                    <a:pt x="229" y="125"/>
                    <a:pt x="252" y="140"/>
                    <a:pt x="279" y="140"/>
                  </a:cubicBezTo>
                  <a:cubicBezTo>
                    <a:pt x="305" y="140"/>
                    <a:pt x="315" y="123"/>
                    <a:pt x="326" y="123"/>
                  </a:cubicBezTo>
                  <a:cubicBezTo>
                    <a:pt x="327" y="123"/>
                    <a:pt x="328" y="123"/>
                    <a:pt x="328" y="121"/>
                  </a:cubicBezTo>
                  <a:cubicBezTo>
                    <a:pt x="328" y="119"/>
                    <a:pt x="327" y="114"/>
                    <a:pt x="327" y="110"/>
                  </a:cubicBezTo>
                  <a:cubicBezTo>
                    <a:pt x="327" y="101"/>
                    <a:pt x="327" y="101"/>
                    <a:pt x="327" y="101"/>
                  </a:cubicBezTo>
                  <a:cubicBezTo>
                    <a:pt x="327" y="84"/>
                    <a:pt x="327" y="82"/>
                    <a:pt x="339" y="82"/>
                  </a:cubicBezTo>
                  <a:cubicBezTo>
                    <a:pt x="340" y="82"/>
                    <a:pt x="340" y="81"/>
                    <a:pt x="340" y="80"/>
                  </a:cubicBezTo>
                  <a:cubicBezTo>
                    <a:pt x="340" y="78"/>
                    <a:pt x="340" y="78"/>
                    <a:pt x="340" y="78"/>
                  </a:cubicBezTo>
                  <a:cubicBezTo>
                    <a:pt x="331" y="78"/>
                    <a:pt x="325" y="78"/>
                    <a:pt x="315" y="78"/>
                  </a:cubicBezTo>
                  <a:cubicBezTo>
                    <a:pt x="306" y="78"/>
                    <a:pt x="294" y="78"/>
                    <a:pt x="285" y="7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sym typeface="Trebuchet MS" panose="020B0603020202020204" pitchFamily="34" charset="0"/>
              </a:endParaRPr>
            </a:p>
          </p:txBody>
        </p:sp>
        <p:sp>
          <p:nvSpPr>
            <p:cNvPr id="25" name="Freeform 6"/>
            <p:cNvSpPr>
              <a:spLocks noEditPoints="1"/>
            </p:cNvSpPr>
            <p:nvPr/>
          </p:nvSpPr>
          <p:spPr bwMode="auto">
            <a:xfrm>
              <a:off x="1194295" y="1459375"/>
              <a:ext cx="1831935" cy="112487"/>
            </a:xfrm>
            <a:custGeom>
              <a:avLst/>
              <a:gdLst>
                <a:gd name="T0" fmla="*/ 32 w 625"/>
                <a:gd name="T1" fmla="*/ 10 h 38"/>
                <a:gd name="T2" fmla="*/ 14 w 625"/>
                <a:gd name="T3" fmla="*/ 4 h 38"/>
                <a:gd name="T4" fmla="*/ 112 w 625"/>
                <a:gd name="T5" fmla="*/ 9 h 38"/>
                <a:gd name="T6" fmla="*/ 87 w 625"/>
                <a:gd name="T7" fmla="*/ 37 h 38"/>
                <a:gd name="T8" fmla="*/ 107 w 625"/>
                <a:gd name="T9" fmla="*/ 10 h 38"/>
                <a:gd name="T10" fmla="*/ 274 w 625"/>
                <a:gd name="T11" fmla="*/ 26 h 38"/>
                <a:gd name="T12" fmla="*/ 271 w 625"/>
                <a:gd name="T13" fmla="*/ 2 h 38"/>
                <a:gd name="T14" fmla="*/ 48 w 625"/>
                <a:gd name="T15" fmla="*/ 37 h 38"/>
                <a:gd name="T16" fmla="*/ 38 w 625"/>
                <a:gd name="T17" fmla="*/ 37 h 38"/>
                <a:gd name="T18" fmla="*/ 33 w 625"/>
                <a:gd name="T19" fmla="*/ 12 h 38"/>
                <a:gd name="T20" fmla="*/ 43 w 625"/>
                <a:gd name="T21" fmla="*/ 12 h 38"/>
                <a:gd name="T22" fmla="*/ 48 w 625"/>
                <a:gd name="T23" fmla="*/ 37 h 38"/>
                <a:gd name="T24" fmla="*/ 56 w 625"/>
                <a:gd name="T25" fmla="*/ 12 h 38"/>
                <a:gd name="T26" fmla="*/ 64 w 625"/>
                <a:gd name="T27" fmla="*/ 23 h 38"/>
                <a:gd name="T28" fmla="*/ 64 w 625"/>
                <a:gd name="T29" fmla="*/ 25 h 38"/>
                <a:gd name="T30" fmla="*/ 118 w 625"/>
                <a:gd name="T31" fmla="*/ 25 h 38"/>
                <a:gd name="T32" fmla="*/ 145 w 625"/>
                <a:gd name="T33" fmla="*/ 37 h 38"/>
                <a:gd name="T34" fmla="*/ 157 w 625"/>
                <a:gd name="T35" fmla="*/ 13 h 38"/>
                <a:gd name="T36" fmla="*/ 152 w 625"/>
                <a:gd name="T37" fmla="*/ 38 h 38"/>
                <a:gd name="T38" fmla="*/ 163 w 625"/>
                <a:gd name="T39" fmla="*/ 19 h 38"/>
                <a:gd name="T40" fmla="*/ 177 w 625"/>
                <a:gd name="T41" fmla="*/ 14 h 38"/>
                <a:gd name="T42" fmla="*/ 196 w 625"/>
                <a:gd name="T43" fmla="*/ 11 h 38"/>
                <a:gd name="T44" fmla="*/ 215 w 625"/>
                <a:gd name="T45" fmla="*/ 17 h 38"/>
                <a:gd name="T46" fmla="*/ 213 w 625"/>
                <a:gd name="T47" fmla="*/ 27 h 38"/>
                <a:gd name="T48" fmla="*/ 226 w 625"/>
                <a:gd name="T49" fmla="*/ 14 h 38"/>
                <a:gd name="T50" fmla="*/ 290 w 625"/>
                <a:gd name="T51" fmla="*/ 38 h 38"/>
                <a:gd name="T52" fmla="*/ 324 w 625"/>
                <a:gd name="T53" fmla="*/ 38 h 38"/>
                <a:gd name="T54" fmla="*/ 303 w 625"/>
                <a:gd name="T55" fmla="*/ 36 h 38"/>
                <a:gd name="T56" fmla="*/ 324 w 625"/>
                <a:gd name="T57" fmla="*/ 30 h 38"/>
                <a:gd name="T58" fmla="*/ 327 w 625"/>
                <a:gd name="T59" fmla="*/ 38 h 38"/>
                <a:gd name="T60" fmla="*/ 345 w 625"/>
                <a:gd name="T61" fmla="*/ 32 h 38"/>
                <a:gd name="T62" fmla="*/ 340 w 625"/>
                <a:gd name="T63" fmla="*/ 14 h 38"/>
                <a:gd name="T64" fmla="*/ 350 w 625"/>
                <a:gd name="T65" fmla="*/ 12 h 38"/>
                <a:gd name="T66" fmla="*/ 366 w 625"/>
                <a:gd name="T67" fmla="*/ 14 h 38"/>
                <a:gd name="T68" fmla="*/ 392 w 625"/>
                <a:gd name="T69" fmla="*/ 37 h 38"/>
                <a:gd name="T70" fmla="*/ 383 w 625"/>
                <a:gd name="T71" fmla="*/ 12 h 38"/>
                <a:gd name="T72" fmla="*/ 397 w 625"/>
                <a:gd name="T73" fmla="*/ 29 h 38"/>
                <a:gd name="T74" fmla="*/ 402 w 625"/>
                <a:gd name="T75" fmla="*/ 14 h 38"/>
                <a:gd name="T76" fmla="*/ 416 w 625"/>
                <a:gd name="T77" fmla="*/ 19 h 38"/>
                <a:gd name="T78" fmla="*/ 419 w 625"/>
                <a:gd name="T79" fmla="*/ 37 h 38"/>
                <a:gd name="T80" fmla="*/ 430 w 625"/>
                <a:gd name="T81" fmla="*/ 13 h 38"/>
                <a:gd name="T82" fmla="*/ 438 w 625"/>
                <a:gd name="T83" fmla="*/ 17 h 38"/>
                <a:gd name="T84" fmla="*/ 436 w 625"/>
                <a:gd name="T85" fmla="*/ 27 h 38"/>
                <a:gd name="T86" fmla="*/ 449 w 625"/>
                <a:gd name="T87" fmla="*/ 13 h 38"/>
                <a:gd name="T88" fmla="*/ 484 w 625"/>
                <a:gd name="T89" fmla="*/ 28 h 38"/>
                <a:gd name="T90" fmla="*/ 479 w 625"/>
                <a:gd name="T91" fmla="*/ 12 h 38"/>
                <a:gd name="T92" fmla="*/ 473 w 625"/>
                <a:gd name="T93" fmla="*/ 28 h 38"/>
                <a:gd name="T94" fmla="*/ 522 w 625"/>
                <a:gd name="T95" fmla="*/ 33 h 38"/>
                <a:gd name="T96" fmla="*/ 520 w 625"/>
                <a:gd name="T97" fmla="*/ 11 h 38"/>
                <a:gd name="T98" fmla="*/ 512 w 625"/>
                <a:gd name="T99" fmla="*/ 21 h 38"/>
                <a:gd name="T100" fmla="*/ 551 w 625"/>
                <a:gd name="T101" fmla="*/ 35 h 38"/>
                <a:gd name="T102" fmla="*/ 527 w 625"/>
                <a:gd name="T103" fmla="*/ 37 h 38"/>
                <a:gd name="T104" fmla="*/ 547 w 625"/>
                <a:gd name="T105" fmla="*/ 18 h 38"/>
                <a:gd name="T106" fmla="*/ 563 w 625"/>
                <a:gd name="T107" fmla="*/ 11 h 38"/>
                <a:gd name="T108" fmla="*/ 580 w 625"/>
                <a:gd name="T109" fmla="*/ 19 h 38"/>
                <a:gd name="T110" fmla="*/ 590 w 625"/>
                <a:gd name="T111" fmla="*/ 35 h 38"/>
                <a:gd name="T112" fmla="*/ 599 w 625"/>
                <a:gd name="T113" fmla="*/ 22 h 38"/>
                <a:gd name="T114" fmla="*/ 604 w 625"/>
                <a:gd name="T115" fmla="*/ 37 h 38"/>
                <a:gd name="T116" fmla="*/ 625 w 625"/>
                <a:gd name="T117" fmla="*/ 19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625" h="38">
                  <a:moveTo>
                    <a:pt x="23" y="37"/>
                  </a:moveTo>
                  <a:cubicBezTo>
                    <a:pt x="23" y="36"/>
                    <a:pt x="23" y="36"/>
                    <a:pt x="23" y="36"/>
                  </a:cubicBezTo>
                  <a:cubicBezTo>
                    <a:pt x="23" y="35"/>
                    <a:pt x="23" y="35"/>
                    <a:pt x="23" y="35"/>
                  </a:cubicBezTo>
                  <a:cubicBezTo>
                    <a:pt x="19" y="34"/>
                    <a:pt x="19" y="34"/>
                    <a:pt x="19" y="28"/>
                  </a:cubicBezTo>
                  <a:cubicBezTo>
                    <a:pt x="19" y="4"/>
                    <a:pt x="19" y="4"/>
                    <a:pt x="19" y="4"/>
                  </a:cubicBezTo>
                  <a:cubicBezTo>
                    <a:pt x="19" y="3"/>
                    <a:pt x="19" y="3"/>
                    <a:pt x="19" y="3"/>
                  </a:cubicBezTo>
                  <a:cubicBezTo>
                    <a:pt x="23" y="3"/>
                    <a:pt x="23" y="3"/>
                    <a:pt x="23" y="3"/>
                  </a:cubicBezTo>
                  <a:cubicBezTo>
                    <a:pt x="27" y="3"/>
                    <a:pt x="30" y="4"/>
                    <a:pt x="30" y="10"/>
                  </a:cubicBezTo>
                  <a:cubicBezTo>
                    <a:pt x="30" y="10"/>
                    <a:pt x="31" y="10"/>
                    <a:pt x="31" y="10"/>
                  </a:cubicBezTo>
                  <a:cubicBezTo>
                    <a:pt x="32" y="10"/>
                    <a:pt x="32" y="10"/>
                    <a:pt x="32" y="10"/>
                  </a:cubicBezTo>
                  <a:cubicBezTo>
                    <a:pt x="32" y="8"/>
                    <a:pt x="32" y="3"/>
                    <a:pt x="32" y="1"/>
                  </a:cubicBezTo>
                  <a:cubicBezTo>
                    <a:pt x="30" y="1"/>
                    <a:pt x="27" y="1"/>
                    <a:pt x="23" y="1"/>
                  </a:cubicBezTo>
                  <a:cubicBezTo>
                    <a:pt x="10" y="1"/>
                    <a:pt x="10" y="1"/>
                    <a:pt x="10" y="1"/>
                  </a:cubicBezTo>
                  <a:cubicBezTo>
                    <a:pt x="6" y="1"/>
                    <a:pt x="3" y="1"/>
                    <a:pt x="0" y="1"/>
                  </a:cubicBezTo>
                  <a:cubicBezTo>
                    <a:pt x="0" y="3"/>
                    <a:pt x="0" y="9"/>
                    <a:pt x="0" y="11"/>
                  </a:cubicBezTo>
                  <a:cubicBezTo>
                    <a:pt x="2" y="11"/>
                    <a:pt x="2" y="11"/>
                    <a:pt x="2" y="11"/>
                  </a:cubicBezTo>
                  <a:cubicBezTo>
                    <a:pt x="2" y="11"/>
                    <a:pt x="2" y="11"/>
                    <a:pt x="2" y="11"/>
                  </a:cubicBezTo>
                  <a:cubicBezTo>
                    <a:pt x="3" y="4"/>
                    <a:pt x="5" y="3"/>
                    <a:pt x="10" y="3"/>
                  </a:cubicBezTo>
                  <a:cubicBezTo>
                    <a:pt x="13" y="3"/>
                    <a:pt x="13" y="3"/>
                    <a:pt x="13" y="3"/>
                  </a:cubicBezTo>
                  <a:cubicBezTo>
                    <a:pt x="14" y="3"/>
                    <a:pt x="14" y="3"/>
                    <a:pt x="14" y="4"/>
                  </a:cubicBezTo>
                  <a:cubicBezTo>
                    <a:pt x="14" y="28"/>
                    <a:pt x="14" y="28"/>
                    <a:pt x="14" y="28"/>
                  </a:cubicBezTo>
                  <a:cubicBezTo>
                    <a:pt x="14" y="34"/>
                    <a:pt x="14" y="34"/>
                    <a:pt x="10" y="35"/>
                  </a:cubicBezTo>
                  <a:cubicBezTo>
                    <a:pt x="9" y="35"/>
                    <a:pt x="9" y="35"/>
                    <a:pt x="9" y="36"/>
                  </a:cubicBezTo>
                  <a:cubicBezTo>
                    <a:pt x="9" y="37"/>
                    <a:pt x="9" y="37"/>
                    <a:pt x="9" y="37"/>
                  </a:cubicBezTo>
                  <a:cubicBezTo>
                    <a:pt x="12" y="37"/>
                    <a:pt x="14" y="37"/>
                    <a:pt x="16" y="37"/>
                  </a:cubicBezTo>
                  <a:cubicBezTo>
                    <a:pt x="19" y="37"/>
                    <a:pt x="21" y="37"/>
                    <a:pt x="23" y="37"/>
                  </a:cubicBezTo>
                  <a:close/>
                  <a:moveTo>
                    <a:pt x="116" y="27"/>
                  </a:moveTo>
                  <a:cubicBezTo>
                    <a:pt x="116" y="21"/>
                    <a:pt x="110" y="18"/>
                    <a:pt x="104" y="18"/>
                  </a:cubicBezTo>
                  <a:cubicBezTo>
                    <a:pt x="104" y="18"/>
                    <a:pt x="104" y="18"/>
                    <a:pt x="104" y="18"/>
                  </a:cubicBezTo>
                  <a:cubicBezTo>
                    <a:pt x="109" y="17"/>
                    <a:pt x="112" y="14"/>
                    <a:pt x="112" y="9"/>
                  </a:cubicBezTo>
                  <a:cubicBezTo>
                    <a:pt x="112" y="3"/>
                    <a:pt x="105" y="1"/>
                    <a:pt x="99" y="1"/>
                  </a:cubicBezTo>
                  <a:cubicBezTo>
                    <a:pt x="97" y="1"/>
                    <a:pt x="96" y="1"/>
                    <a:pt x="94" y="1"/>
                  </a:cubicBezTo>
                  <a:cubicBezTo>
                    <a:pt x="91" y="1"/>
                    <a:pt x="89" y="1"/>
                    <a:pt x="87" y="1"/>
                  </a:cubicBezTo>
                  <a:cubicBezTo>
                    <a:pt x="87" y="2"/>
                    <a:pt x="87" y="2"/>
                    <a:pt x="87" y="2"/>
                  </a:cubicBezTo>
                  <a:cubicBezTo>
                    <a:pt x="87" y="3"/>
                    <a:pt x="87" y="3"/>
                    <a:pt x="87" y="3"/>
                  </a:cubicBezTo>
                  <a:cubicBezTo>
                    <a:pt x="91" y="3"/>
                    <a:pt x="91" y="3"/>
                    <a:pt x="91" y="10"/>
                  </a:cubicBezTo>
                  <a:cubicBezTo>
                    <a:pt x="91" y="28"/>
                    <a:pt x="91" y="28"/>
                    <a:pt x="91" y="28"/>
                  </a:cubicBezTo>
                  <a:cubicBezTo>
                    <a:pt x="91" y="34"/>
                    <a:pt x="91" y="34"/>
                    <a:pt x="87" y="35"/>
                  </a:cubicBezTo>
                  <a:cubicBezTo>
                    <a:pt x="87" y="35"/>
                    <a:pt x="87" y="35"/>
                    <a:pt x="87" y="36"/>
                  </a:cubicBezTo>
                  <a:cubicBezTo>
                    <a:pt x="87" y="37"/>
                    <a:pt x="87" y="37"/>
                    <a:pt x="87" y="37"/>
                  </a:cubicBezTo>
                  <a:cubicBezTo>
                    <a:pt x="89" y="37"/>
                    <a:pt x="91" y="37"/>
                    <a:pt x="94" y="37"/>
                  </a:cubicBezTo>
                  <a:cubicBezTo>
                    <a:pt x="97" y="37"/>
                    <a:pt x="98" y="37"/>
                    <a:pt x="101" y="37"/>
                  </a:cubicBezTo>
                  <a:cubicBezTo>
                    <a:pt x="110" y="37"/>
                    <a:pt x="116" y="32"/>
                    <a:pt x="116" y="27"/>
                  </a:cubicBezTo>
                  <a:close/>
                  <a:moveTo>
                    <a:pt x="110" y="27"/>
                  </a:moveTo>
                  <a:cubicBezTo>
                    <a:pt x="110" y="32"/>
                    <a:pt x="107" y="35"/>
                    <a:pt x="101" y="35"/>
                  </a:cubicBezTo>
                  <a:cubicBezTo>
                    <a:pt x="96" y="35"/>
                    <a:pt x="96" y="34"/>
                    <a:pt x="96" y="27"/>
                  </a:cubicBezTo>
                  <a:cubicBezTo>
                    <a:pt x="96" y="19"/>
                    <a:pt x="96" y="19"/>
                    <a:pt x="96" y="19"/>
                  </a:cubicBezTo>
                  <a:cubicBezTo>
                    <a:pt x="98" y="19"/>
                    <a:pt x="98" y="19"/>
                    <a:pt x="98" y="19"/>
                  </a:cubicBezTo>
                  <a:cubicBezTo>
                    <a:pt x="106" y="19"/>
                    <a:pt x="110" y="21"/>
                    <a:pt x="110" y="27"/>
                  </a:cubicBezTo>
                  <a:close/>
                  <a:moveTo>
                    <a:pt x="107" y="10"/>
                  </a:moveTo>
                  <a:cubicBezTo>
                    <a:pt x="107" y="15"/>
                    <a:pt x="104" y="17"/>
                    <a:pt x="98" y="17"/>
                  </a:cubicBezTo>
                  <a:cubicBezTo>
                    <a:pt x="96" y="17"/>
                    <a:pt x="96" y="17"/>
                    <a:pt x="96" y="17"/>
                  </a:cubicBezTo>
                  <a:cubicBezTo>
                    <a:pt x="96" y="4"/>
                    <a:pt x="96" y="4"/>
                    <a:pt x="96" y="4"/>
                  </a:cubicBezTo>
                  <a:cubicBezTo>
                    <a:pt x="96" y="3"/>
                    <a:pt x="96" y="3"/>
                    <a:pt x="97" y="3"/>
                  </a:cubicBezTo>
                  <a:cubicBezTo>
                    <a:pt x="97" y="3"/>
                    <a:pt x="99" y="3"/>
                    <a:pt x="100" y="3"/>
                  </a:cubicBezTo>
                  <a:cubicBezTo>
                    <a:pt x="104" y="3"/>
                    <a:pt x="107" y="5"/>
                    <a:pt x="107" y="10"/>
                  </a:cubicBezTo>
                  <a:close/>
                  <a:moveTo>
                    <a:pt x="276" y="37"/>
                  </a:moveTo>
                  <a:cubicBezTo>
                    <a:pt x="276" y="35"/>
                    <a:pt x="276" y="28"/>
                    <a:pt x="276" y="26"/>
                  </a:cubicBezTo>
                  <a:cubicBezTo>
                    <a:pt x="274" y="26"/>
                    <a:pt x="274" y="26"/>
                    <a:pt x="274" y="26"/>
                  </a:cubicBezTo>
                  <a:cubicBezTo>
                    <a:pt x="274" y="26"/>
                    <a:pt x="274" y="26"/>
                    <a:pt x="274" y="26"/>
                  </a:cubicBezTo>
                  <a:cubicBezTo>
                    <a:pt x="273" y="33"/>
                    <a:pt x="270" y="35"/>
                    <a:pt x="264" y="35"/>
                  </a:cubicBezTo>
                  <a:cubicBezTo>
                    <a:pt x="257" y="35"/>
                    <a:pt x="253" y="29"/>
                    <a:pt x="253" y="19"/>
                  </a:cubicBezTo>
                  <a:cubicBezTo>
                    <a:pt x="253" y="11"/>
                    <a:pt x="254" y="2"/>
                    <a:pt x="263" y="2"/>
                  </a:cubicBezTo>
                  <a:cubicBezTo>
                    <a:pt x="268" y="2"/>
                    <a:pt x="271" y="5"/>
                    <a:pt x="272" y="11"/>
                  </a:cubicBezTo>
                  <a:cubicBezTo>
                    <a:pt x="272" y="11"/>
                    <a:pt x="272" y="11"/>
                    <a:pt x="272" y="11"/>
                  </a:cubicBezTo>
                  <a:cubicBezTo>
                    <a:pt x="274" y="11"/>
                    <a:pt x="274" y="11"/>
                    <a:pt x="274" y="11"/>
                  </a:cubicBezTo>
                  <a:cubicBezTo>
                    <a:pt x="274" y="9"/>
                    <a:pt x="274" y="3"/>
                    <a:pt x="274" y="0"/>
                  </a:cubicBezTo>
                  <a:cubicBezTo>
                    <a:pt x="273" y="0"/>
                    <a:pt x="273" y="0"/>
                    <a:pt x="273" y="0"/>
                  </a:cubicBezTo>
                  <a:cubicBezTo>
                    <a:pt x="272" y="0"/>
                    <a:pt x="272" y="0"/>
                    <a:pt x="272" y="1"/>
                  </a:cubicBezTo>
                  <a:cubicBezTo>
                    <a:pt x="271" y="2"/>
                    <a:pt x="271" y="2"/>
                    <a:pt x="271" y="2"/>
                  </a:cubicBezTo>
                  <a:cubicBezTo>
                    <a:pt x="271" y="2"/>
                    <a:pt x="271" y="2"/>
                    <a:pt x="271" y="2"/>
                  </a:cubicBezTo>
                  <a:cubicBezTo>
                    <a:pt x="269" y="1"/>
                    <a:pt x="266" y="0"/>
                    <a:pt x="263" y="0"/>
                  </a:cubicBezTo>
                  <a:cubicBezTo>
                    <a:pt x="253" y="0"/>
                    <a:pt x="247" y="8"/>
                    <a:pt x="247" y="19"/>
                  </a:cubicBezTo>
                  <a:cubicBezTo>
                    <a:pt x="247" y="31"/>
                    <a:pt x="254" y="38"/>
                    <a:pt x="264" y="38"/>
                  </a:cubicBezTo>
                  <a:cubicBezTo>
                    <a:pt x="269" y="38"/>
                    <a:pt x="272" y="36"/>
                    <a:pt x="273" y="36"/>
                  </a:cubicBezTo>
                  <a:cubicBezTo>
                    <a:pt x="273" y="36"/>
                    <a:pt x="273" y="36"/>
                    <a:pt x="273" y="36"/>
                  </a:cubicBezTo>
                  <a:cubicBezTo>
                    <a:pt x="274" y="37"/>
                    <a:pt x="274" y="37"/>
                    <a:pt x="274" y="37"/>
                  </a:cubicBezTo>
                  <a:cubicBezTo>
                    <a:pt x="274" y="37"/>
                    <a:pt x="274" y="37"/>
                    <a:pt x="275" y="37"/>
                  </a:cubicBezTo>
                  <a:lnTo>
                    <a:pt x="276" y="37"/>
                  </a:lnTo>
                  <a:close/>
                  <a:moveTo>
                    <a:pt x="48" y="37"/>
                  </a:moveTo>
                  <a:cubicBezTo>
                    <a:pt x="47" y="37"/>
                    <a:pt x="45" y="37"/>
                    <a:pt x="43" y="37"/>
                  </a:cubicBezTo>
                  <a:cubicBezTo>
                    <a:pt x="43" y="36"/>
                    <a:pt x="43" y="36"/>
                    <a:pt x="43" y="36"/>
                  </a:cubicBezTo>
                  <a:cubicBezTo>
                    <a:pt x="43" y="36"/>
                    <a:pt x="43" y="35"/>
                    <a:pt x="43" y="35"/>
                  </a:cubicBezTo>
                  <a:cubicBezTo>
                    <a:pt x="46" y="35"/>
                    <a:pt x="46" y="35"/>
                    <a:pt x="46" y="30"/>
                  </a:cubicBezTo>
                  <a:cubicBezTo>
                    <a:pt x="46" y="25"/>
                    <a:pt x="46" y="25"/>
                    <a:pt x="46" y="25"/>
                  </a:cubicBezTo>
                  <a:cubicBezTo>
                    <a:pt x="35" y="25"/>
                    <a:pt x="35" y="25"/>
                    <a:pt x="35" y="25"/>
                  </a:cubicBezTo>
                  <a:cubicBezTo>
                    <a:pt x="35" y="30"/>
                    <a:pt x="35" y="30"/>
                    <a:pt x="35" y="30"/>
                  </a:cubicBezTo>
                  <a:cubicBezTo>
                    <a:pt x="35" y="35"/>
                    <a:pt x="35" y="35"/>
                    <a:pt x="38" y="35"/>
                  </a:cubicBezTo>
                  <a:cubicBezTo>
                    <a:pt x="38" y="35"/>
                    <a:pt x="38" y="36"/>
                    <a:pt x="38" y="36"/>
                  </a:cubicBezTo>
                  <a:cubicBezTo>
                    <a:pt x="38" y="37"/>
                    <a:pt x="38" y="37"/>
                    <a:pt x="38" y="37"/>
                  </a:cubicBezTo>
                  <a:cubicBezTo>
                    <a:pt x="37" y="37"/>
                    <a:pt x="35" y="37"/>
                    <a:pt x="33" y="37"/>
                  </a:cubicBezTo>
                  <a:cubicBezTo>
                    <a:pt x="31" y="37"/>
                    <a:pt x="29" y="37"/>
                    <a:pt x="27" y="37"/>
                  </a:cubicBezTo>
                  <a:cubicBezTo>
                    <a:pt x="27" y="36"/>
                    <a:pt x="27" y="36"/>
                    <a:pt x="27" y="36"/>
                  </a:cubicBezTo>
                  <a:cubicBezTo>
                    <a:pt x="27" y="36"/>
                    <a:pt x="27" y="35"/>
                    <a:pt x="28" y="35"/>
                  </a:cubicBezTo>
                  <a:cubicBezTo>
                    <a:pt x="31" y="35"/>
                    <a:pt x="31" y="35"/>
                    <a:pt x="31" y="30"/>
                  </a:cubicBezTo>
                  <a:cubicBezTo>
                    <a:pt x="31" y="19"/>
                    <a:pt x="31" y="19"/>
                    <a:pt x="31" y="19"/>
                  </a:cubicBezTo>
                  <a:cubicBezTo>
                    <a:pt x="31" y="14"/>
                    <a:pt x="31" y="14"/>
                    <a:pt x="28" y="14"/>
                  </a:cubicBezTo>
                  <a:cubicBezTo>
                    <a:pt x="27" y="14"/>
                    <a:pt x="27" y="14"/>
                    <a:pt x="27" y="13"/>
                  </a:cubicBezTo>
                  <a:cubicBezTo>
                    <a:pt x="27" y="12"/>
                    <a:pt x="27" y="12"/>
                    <a:pt x="27" y="12"/>
                  </a:cubicBezTo>
                  <a:cubicBezTo>
                    <a:pt x="29" y="12"/>
                    <a:pt x="31" y="12"/>
                    <a:pt x="33" y="12"/>
                  </a:cubicBezTo>
                  <a:cubicBezTo>
                    <a:pt x="35" y="12"/>
                    <a:pt x="37" y="12"/>
                    <a:pt x="38" y="12"/>
                  </a:cubicBezTo>
                  <a:cubicBezTo>
                    <a:pt x="38" y="13"/>
                    <a:pt x="38" y="13"/>
                    <a:pt x="38" y="13"/>
                  </a:cubicBezTo>
                  <a:cubicBezTo>
                    <a:pt x="38" y="14"/>
                    <a:pt x="38" y="14"/>
                    <a:pt x="38" y="14"/>
                  </a:cubicBezTo>
                  <a:cubicBezTo>
                    <a:pt x="35" y="14"/>
                    <a:pt x="35" y="14"/>
                    <a:pt x="35" y="19"/>
                  </a:cubicBezTo>
                  <a:cubicBezTo>
                    <a:pt x="35" y="23"/>
                    <a:pt x="35" y="23"/>
                    <a:pt x="35" y="23"/>
                  </a:cubicBezTo>
                  <a:cubicBezTo>
                    <a:pt x="46" y="23"/>
                    <a:pt x="46" y="23"/>
                    <a:pt x="46" y="23"/>
                  </a:cubicBezTo>
                  <a:cubicBezTo>
                    <a:pt x="46" y="19"/>
                    <a:pt x="46" y="19"/>
                    <a:pt x="46" y="19"/>
                  </a:cubicBezTo>
                  <a:cubicBezTo>
                    <a:pt x="46" y="14"/>
                    <a:pt x="46" y="14"/>
                    <a:pt x="43" y="14"/>
                  </a:cubicBezTo>
                  <a:cubicBezTo>
                    <a:pt x="43" y="14"/>
                    <a:pt x="43" y="14"/>
                    <a:pt x="43" y="13"/>
                  </a:cubicBezTo>
                  <a:cubicBezTo>
                    <a:pt x="43" y="12"/>
                    <a:pt x="43" y="12"/>
                    <a:pt x="43" y="12"/>
                  </a:cubicBezTo>
                  <a:cubicBezTo>
                    <a:pt x="45" y="12"/>
                    <a:pt x="47" y="12"/>
                    <a:pt x="48" y="12"/>
                  </a:cubicBezTo>
                  <a:cubicBezTo>
                    <a:pt x="50" y="12"/>
                    <a:pt x="52" y="12"/>
                    <a:pt x="54" y="12"/>
                  </a:cubicBezTo>
                  <a:cubicBezTo>
                    <a:pt x="54" y="13"/>
                    <a:pt x="54" y="13"/>
                    <a:pt x="54" y="13"/>
                  </a:cubicBezTo>
                  <a:cubicBezTo>
                    <a:pt x="54" y="14"/>
                    <a:pt x="54" y="14"/>
                    <a:pt x="54" y="14"/>
                  </a:cubicBezTo>
                  <a:cubicBezTo>
                    <a:pt x="51" y="14"/>
                    <a:pt x="51" y="14"/>
                    <a:pt x="51" y="19"/>
                  </a:cubicBezTo>
                  <a:cubicBezTo>
                    <a:pt x="51" y="30"/>
                    <a:pt x="51" y="30"/>
                    <a:pt x="51" y="30"/>
                  </a:cubicBezTo>
                  <a:cubicBezTo>
                    <a:pt x="51" y="35"/>
                    <a:pt x="51" y="35"/>
                    <a:pt x="54" y="35"/>
                  </a:cubicBezTo>
                  <a:cubicBezTo>
                    <a:pt x="54" y="35"/>
                    <a:pt x="54" y="36"/>
                    <a:pt x="54" y="36"/>
                  </a:cubicBezTo>
                  <a:cubicBezTo>
                    <a:pt x="54" y="37"/>
                    <a:pt x="54" y="37"/>
                    <a:pt x="54" y="37"/>
                  </a:cubicBezTo>
                  <a:cubicBezTo>
                    <a:pt x="52" y="37"/>
                    <a:pt x="50" y="37"/>
                    <a:pt x="48" y="37"/>
                  </a:cubicBezTo>
                  <a:close/>
                  <a:moveTo>
                    <a:pt x="69" y="37"/>
                  </a:moveTo>
                  <a:cubicBezTo>
                    <a:pt x="62" y="37"/>
                    <a:pt x="62" y="37"/>
                    <a:pt x="62" y="37"/>
                  </a:cubicBezTo>
                  <a:cubicBezTo>
                    <a:pt x="60" y="37"/>
                    <a:pt x="58" y="37"/>
                    <a:pt x="56" y="37"/>
                  </a:cubicBezTo>
                  <a:cubicBezTo>
                    <a:pt x="56" y="36"/>
                    <a:pt x="56" y="36"/>
                    <a:pt x="56" y="36"/>
                  </a:cubicBezTo>
                  <a:cubicBezTo>
                    <a:pt x="56" y="36"/>
                    <a:pt x="56" y="35"/>
                    <a:pt x="56" y="35"/>
                  </a:cubicBezTo>
                  <a:cubicBezTo>
                    <a:pt x="59" y="35"/>
                    <a:pt x="59" y="35"/>
                    <a:pt x="59" y="30"/>
                  </a:cubicBezTo>
                  <a:cubicBezTo>
                    <a:pt x="59" y="19"/>
                    <a:pt x="59" y="19"/>
                    <a:pt x="59" y="19"/>
                  </a:cubicBezTo>
                  <a:cubicBezTo>
                    <a:pt x="59" y="14"/>
                    <a:pt x="59" y="14"/>
                    <a:pt x="56" y="14"/>
                  </a:cubicBezTo>
                  <a:cubicBezTo>
                    <a:pt x="56" y="14"/>
                    <a:pt x="56" y="14"/>
                    <a:pt x="56" y="13"/>
                  </a:cubicBezTo>
                  <a:cubicBezTo>
                    <a:pt x="56" y="12"/>
                    <a:pt x="56" y="12"/>
                    <a:pt x="56" y="12"/>
                  </a:cubicBezTo>
                  <a:cubicBezTo>
                    <a:pt x="58" y="12"/>
                    <a:pt x="60" y="12"/>
                    <a:pt x="62" y="12"/>
                  </a:cubicBezTo>
                  <a:cubicBezTo>
                    <a:pt x="67" y="12"/>
                    <a:pt x="67" y="12"/>
                    <a:pt x="67" y="12"/>
                  </a:cubicBezTo>
                  <a:cubicBezTo>
                    <a:pt x="71" y="12"/>
                    <a:pt x="73" y="12"/>
                    <a:pt x="74" y="12"/>
                  </a:cubicBezTo>
                  <a:cubicBezTo>
                    <a:pt x="74" y="14"/>
                    <a:pt x="74" y="17"/>
                    <a:pt x="74" y="19"/>
                  </a:cubicBezTo>
                  <a:cubicBezTo>
                    <a:pt x="73" y="19"/>
                    <a:pt x="73" y="19"/>
                    <a:pt x="73" y="19"/>
                  </a:cubicBezTo>
                  <a:cubicBezTo>
                    <a:pt x="73" y="19"/>
                    <a:pt x="73" y="19"/>
                    <a:pt x="73" y="19"/>
                  </a:cubicBezTo>
                  <a:cubicBezTo>
                    <a:pt x="72" y="15"/>
                    <a:pt x="71" y="14"/>
                    <a:pt x="68" y="14"/>
                  </a:cubicBezTo>
                  <a:cubicBezTo>
                    <a:pt x="64" y="14"/>
                    <a:pt x="64" y="14"/>
                    <a:pt x="64" y="14"/>
                  </a:cubicBezTo>
                  <a:cubicBezTo>
                    <a:pt x="64" y="14"/>
                    <a:pt x="64" y="14"/>
                    <a:pt x="64" y="15"/>
                  </a:cubicBezTo>
                  <a:cubicBezTo>
                    <a:pt x="64" y="23"/>
                    <a:pt x="64" y="23"/>
                    <a:pt x="64" y="23"/>
                  </a:cubicBezTo>
                  <a:cubicBezTo>
                    <a:pt x="64" y="23"/>
                    <a:pt x="64" y="23"/>
                    <a:pt x="64" y="23"/>
                  </a:cubicBezTo>
                  <a:cubicBezTo>
                    <a:pt x="67" y="23"/>
                    <a:pt x="68" y="23"/>
                    <a:pt x="68" y="20"/>
                  </a:cubicBezTo>
                  <a:cubicBezTo>
                    <a:pt x="68" y="20"/>
                    <a:pt x="68" y="20"/>
                    <a:pt x="69" y="20"/>
                  </a:cubicBezTo>
                  <a:cubicBezTo>
                    <a:pt x="70" y="20"/>
                    <a:pt x="70" y="20"/>
                    <a:pt x="70" y="20"/>
                  </a:cubicBezTo>
                  <a:cubicBezTo>
                    <a:pt x="70" y="21"/>
                    <a:pt x="70" y="23"/>
                    <a:pt x="70" y="24"/>
                  </a:cubicBezTo>
                  <a:cubicBezTo>
                    <a:pt x="70" y="26"/>
                    <a:pt x="70" y="27"/>
                    <a:pt x="70" y="28"/>
                  </a:cubicBezTo>
                  <a:cubicBezTo>
                    <a:pt x="69" y="28"/>
                    <a:pt x="69" y="28"/>
                    <a:pt x="69" y="28"/>
                  </a:cubicBezTo>
                  <a:cubicBezTo>
                    <a:pt x="68" y="28"/>
                    <a:pt x="68" y="28"/>
                    <a:pt x="68" y="28"/>
                  </a:cubicBezTo>
                  <a:cubicBezTo>
                    <a:pt x="68" y="25"/>
                    <a:pt x="67" y="25"/>
                    <a:pt x="64" y="25"/>
                  </a:cubicBezTo>
                  <a:cubicBezTo>
                    <a:pt x="64" y="25"/>
                    <a:pt x="64" y="25"/>
                    <a:pt x="64" y="25"/>
                  </a:cubicBezTo>
                  <a:cubicBezTo>
                    <a:pt x="64" y="30"/>
                    <a:pt x="64" y="30"/>
                    <a:pt x="64" y="30"/>
                  </a:cubicBezTo>
                  <a:cubicBezTo>
                    <a:pt x="64" y="35"/>
                    <a:pt x="64" y="35"/>
                    <a:pt x="67" y="35"/>
                  </a:cubicBezTo>
                  <a:cubicBezTo>
                    <a:pt x="69" y="35"/>
                    <a:pt x="69" y="35"/>
                    <a:pt x="69" y="35"/>
                  </a:cubicBezTo>
                  <a:cubicBezTo>
                    <a:pt x="72" y="35"/>
                    <a:pt x="74" y="34"/>
                    <a:pt x="75" y="30"/>
                  </a:cubicBezTo>
                  <a:cubicBezTo>
                    <a:pt x="75" y="30"/>
                    <a:pt x="75" y="30"/>
                    <a:pt x="75" y="30"/>
                  </a:cubicBezTo>
                  <a:cubicBezTo>
                    <a:pt x="76" y="30"/>
                    <a:pt x="76" y="30"/>
                    <a:pt x="76" y="30"/>
                  </a:cubicBezTo>
                  <a:cubicBezTo>
                    <a:pt x="76" y="31"/>
                    <a:pt x="76" y="35"/>
                    <a:pt x="76" y="37"/>
                  </a:cubicBezTo>
                  <a:cubicBezTo>
                    <a:pt x="74" y="37"/>
                    <a:pt x="72" y="37"/>
                    <a:pt x="69" y="37"/>
                  </a:cubicBezTo>
                  <a:close/>
                  <a:moveTo>
                    <a:pt x="130" y="38"/>
                  </a:moveTo>
                  <a:cubicBezTo>
                    <a:pt x="123" y="38"/>
                    <a:pt x="118" y="33"/>
                    <a:pt x="118" y="25"/>
                  </a:cubicBezTo>
                  <a:cubicBezTo>
                    <a:pt x="118" y="16"/>
                    <a:pt x="124" y="11"/>
                    <a:pt x="130" y="11"/>
                  </a:cubicBezTo>
                  <a:cubicBezTo>
                    <a:pt x="137" y="11"/>
                    <a:pt x="142" y="16"/>
                    <a:pt x="142" y="24"/>
                  </a:cubicBezTo>
                  <a:cubicBezTo>
                    <a:pt x="142" y="33"/>
                    <a:pt x="137" y="38"/>
                    <a:pt x="130" y="38"/>
                  </a:cubicBezTo>
                  <a:close/>
                  <a:moveTo>
                    <a:pt x="130" y="14"/>
                  </a:moveTo>
                  <a:cubicBezTo>
                    <a:pt x="125" y="14"/>
                    <a:pt x="123" y="17"/>
                    <a:pt x="123" y="25"/>
                  </a:cubicBezTo>
                  <a:cubicBezTo>
                    <a:pt x="123" y="32"/>
                    <a:pt x="126" y="36"/>
                    <a:pt x="130" y="36"/>
                  </a:cubicBezTo>
                  <a:cubicBezTo>
                    <a:pt x="135" y="36"/>
                    <a:pt x="137" y="32"/>
                    <a:pt x="137" y="24"/>
                  </a:cubicBezTo>
                  <a:cubicBezTo>
                    <a:pt x="137" y="17"/>
                    <a:pt x="134" y="14"/>
                    <a:pt x="130" y="14"/>
                  </a:cubicBezTo>
                  <a:close/>
                  <a:moveTo>
                    <a:pt x="146" y="36"/>
                  </a:moveTo>
                  <a:cubicBezTo>
                    <a:pt x="145" y="37"/>
                    <a:pt x="145" y="37"/>
                    <a:pt x="145" y="37"/>
                  </a:cubicBezTo>
                  <a:cubicBezTo>
                    <a:pt x="145" y="37"/>
                    <a:pt x="145" y="37"/>
                    <a:pt x="145" y="37"/>
                  </a:cubicBezTo>
                  <a:cubicBezTo>
                    <a:pt x="144" y="37"/>
                    <a:pt x="144" y="37"/>
                    <a:pt x="144" y="37"/>
                  </a:cubicBezTo>
                  <a:cubicBezTo>
                    <a:pt x="144" y="36"/>
                    <a:pt x="144" y="31"/>
                    <a:pt x="144" y="29"/>
                  </a:cubicBezTo>
                  <a:cubicBezTo>
                    <a:pt x="145" y="29"/>
                    <a:pt x="145" y="29"/>
                    <a:pt x="145" y="29"/>
                  </a:cubicBezTo>
                  <a:cubicBezTo>
                    <a:pt x="145" y="29"/>
                    <a:pt x="146" y="29"/>
                    <a:pt x="146" y="30"/>
                  </a:cubicBezTo>
                  <a:cubicBezTo>
                    <a:pt x="146" y="33"/>
                    <a:pt x="148" y="36"/>
                    <a:pt x="152" y="36"/>
                  </a:cubicBezTo>
                  <a:cubicBezTo>
                    <a:pt x="155" y="36"/>
                    <a:pt x="157" y="34"/>
                    <a:pt x="157" y="32"/>
                  </a:cubicBezTo>
                  <a:cubicBezTo>
                    <a:pt x="157" y="25"/>
                    <a:pt x="144" y="27"/>
                    <a:pt x="144" y="19"/>
                  </a:cubicBezTo>
                  <a:cubicBezTo>
                    <a:pt x="144" y="14"/>
                    <a:pt x="147" y="11"/>
                    <a:pt x="152" y="11"/>
                  </a:cubicBezTo>
                  <a:cubicBezTo>
                    <a:pt x="153" y="11"/>
                    <a:pt x="155" y="12"/>
                    <a:pt x="157" y="13"/>
                  </a:cubicBezTo>
                  <a:cubicBezTo>
                    <a:pt x="157" y="12"/>
                    <a:pt x="157" y="12"/>
                    <a:pt x="157" y="12"/>
                  </a:cubicBezTo>
                  <a:cubicBezTo>
                    <a:pt x="157" y="12"/>
                    <a:pt x="158" y="12"/>
                    <a:pt x="158" y="12"/>
                  </a:cubicBezTo>
                  <a:cubicBezTo>
                    <a:pt x="159" y="12"/>
                    <a:pt x="159" y="12"/>
                    <a:pt x="159" y="12"/>
                  </a:cubicBezTo>
                  <a:cubicBezTo>
                    <a:pt x="159" y="14"/>
                    <a:pt x="159" y="18"/>
                    <a:pt x="159" y="19"/>
                  </a:cubicBezTo>
                  <a:cubicBezTo>
                    <a:pt x="158" y="19"/>
                    <a:pt x="158" y="19"/>
                    <a:pt x="158" y="19"/>
                  </a:cubicBezTo>
                  <a:cubicBezTo>
                    <a:pt x="157" y="19"/>
                    <a:pt x="157" y="19"/>
                    <a:pt x="157" y="19"/>
                  </a:cubicBezTo>
                  <a:cubicBezTo>
                    <a:pt x="156" y="16"/>
                    <a:pt x="155" y="14"/>
                    <a:pt x="152" y="14"/>
                  </a:cubicBezTo>
                  <a:cubicBezTo>
                    <a:pt x="149" y="14"/>
                    <a:pt x="148" y="15"/>
                    <a:pt x="148" y="17"/>
                  </a:cubicBezTo>
                  <a:cubicBezTo>
                    <a:pt x="148" y="23"/>
                    <a:pt x="161" y="21"/>
                    <a:pt x="161" y="30"/>
                  </a:cubicBezTo>
                  <a:cubicBezTo>
                    <a:pt x="161" y="35"/>
                    <a:pt x="156" y="38"/>
                    <a:pt x="152" y="38"/>
                  </a:cubicBezTo>
                  <a:cubicBezTo>
                    <a:pt x="149" y="38"/>
                    <a:pt x="147" y="37"/>
                    <a:pt x="146" y="36"/>
                  </a:cubicBezTo>
                  <a:close/>
                  <a:moveTo>
                    <a:pt x="172" y="37"/>
                  </a:moveTo>
                  <a:cubicBezTo>
                    <a:pt x="171" y="37"/>
                    <a:pt x="168" y="37"/>
                    <a:pt x="167" y="37"/>
                  </a:cubicBezTo>
                  <a:cubicBezTo>
                    <a:pt x="167" y="36"/>
                    <a:pt x="167" y="36"/>
                    <a:pt x="167" y="36"/>
                  </a:cubicBezTo>
                  <a:cubicBezTo>
                    <a:pt x="167" y="36"/>
                    <a:pt x="167" y="35"/>
                    <a:pt x="167" y="35"/>
                  </a:cubicBezTo>
                  <a:cubicBezTo>
                    <a:pt x="170" y="35"/>
                    <a:pt x="170" y="35"/>
                    <a:pt x="170" y="30"/>
                  </a:cubicBezTo>
                  <a:cubicBezTo>
                    <a:pt x="170" y="15"/>
                    <a:pt x="170" y="15"/>
                    <a:pt x="170" y="15"/>
                  </a:cubicBezTo>
                  <a:cubicBezTo>
                    <a:pt x="170" y="14"/>
                    <a:pt x="170" y="14"/>
                    <a:pt x="170" y="14"/>
                  </a:cubicBezTo>
                  <a:cubicBezTo>
                    <a:pt x="168" y="14"/>
                    <a:pt x="168" y="14"/>
                    <a:pt x="168" y="14"/>
                  </a:cubicBezTo>
                  <a:cubicBezTo>
                    <a:pt x="165" y="14"/>
                    <a:pt x="163" y="14"/>
                    <a:pt x="163" y="19"/>
                  </a:cubicBezTo>
                  <a:cubicBezTo>
                    <a:pt x="162" y="19"/>
                    <a:pt x="162" y="19"/>
                    <a:pt x="162" y="19"/>
                  </a:cubicBezTo>
                  <a:cubicBezTo>
                    <a:pt x="161" y="19"/>
                    <a:pt x="161" y="19"/>
                    <a:pt x="161" y="19"/>
                  </a:cubicBezTo>
                  <a:cubicBezTo>
                    <a:pt x="161" y="18"/>
                    <a:pt x="161" y="14"/>
                    <a:pt x="161" y="12"/>
                  </a:cubicBezTo>
                  <a:cubicBezTo>
                    <a:pt x="163" y="12"/>
                    <a:pt x="165" y="12"/>
                    <a:pt x="168" y="12"/>
                  </a:cubicBezTo>
                  <a:cubicBezTo>
                    <a:pt x="177" y="12"/>
                    <a:pt x="177" y="12"/>
                    <a:pt x="177" y="12"/>
                  </a:cubicBezTo>
                  <a:cubicBezTo>
                    <a:pt x="180" y="12"/>
                    <a:pt x="182" y="12"/>
                    <a:pt x="184" y="12"/>
                  </a:cubicBezTo>
                  <a:cubicBezTo>
                    <a:pt x="184" y="14"/>
                    <a:pt x="184" y="18"/>
                    <a:pt x="184" y="19"/>
                  </a:cubicBezTo>
                  <a:cubicBezTo>
                    <a:pt x="183" y="19"/>
                    <a:pt x="183" y="19"/>
                    <a:pt x="183" y="19"/>
                  </a:cubicBezTo>
                  <a:cubicBezTo>
                    <a:pt x="182" y="19"/>
                    <a:pt x="182" y="19"/>
                    <a:pt x="182" y="19"/>
                  </a:cubicBezTo>
                  <a:cubicBezTo>
                    <a:pt x="182" y="14"/>
                    <a:pt x="180" y="14"/>
                    <a:pt x="177" y="14"/>
                  </a:cubicBezTo>
                  <a:cubicBezTo>
                    <a:pt x="175" y="14"/>
                    <a:pt x="175" y="14"/>
                    <a:pt x="175" y="14"/>
                  </a:cubicBezTo>
                  <a:cubicBezTo>
                    <a:pt x="175" y="14"/>
                    <a:pt x="175" y="14"/>
                    <a:pt x="175" y="15"/>
                  </a:cubicBezTo>
                  <a:cubicBezTo>
                    <a:pt x="175" y="30"/>
                    <a:pt x="175" y="30"/>
                    <a:pt x="175" y="30"/>
                  </a:cubicBezTo>
                  <a:cubicBezTo>
                    <a:pt x="175" y="35"/>
                    <a:pt x="175" y="35"/>
                    <a:pt x="178" y="35"/>
                  </a:cubicBezTo>
                  <a:cubicBezTo>
                    <a:pt x="178" y="35"/>
                    <a:pt x="178" y="36"/>
                    <a:pt x="178" y="36"/>
                  </a:cubicBezTo>
                  <a:cubicBezTo>
                    <a:pt x="178" y="37"/>
                    <a:pt x="178" y="37"/>
                    <a:pt x="178" y="37"/>
                  </a:cubicBezTo>
                  <a:cubicBezTo>
                    <a:pt x="176" y="37"/>
                    <a:pt x="174" y="37"/>
                    <a:pt x="172" y="37"/>
                  </a:cubicBezTo>
                  <a:close/>
                  <a:moveTo>
                    <a:pt x="196" y="38"/>
                  </a:moveTo>
                  <a:cubicBezTo>
                    <a:pt x="189" y="38"/>
                    <a:pt x="184" y="33"/>
                    <a:pt x="184" y="25"/>
                  </a:cubicBezTo>
                  <a:cubicBezTo>
                    <a:pt x="184" y="16"/>
                    <a:pt x="190" y="11"/>
                    <a:pt x="196" y="11"/>
                  </a:cubicBezTo>
                  <a:cubicBezTo>
                    <a:pt x="203" y="11"/>
                    <a:pt x="208" y="16"/>
                    <a:pt x="208" y="24"/>
                  </a:cubicBezTo>
                  <a:cubicBezTo>
                    <a:pt x="208" y="33"/>
                    <a:pt x="203" y="38"/>
                    <a:pt x="196" y="38"/>
                  </a:cubicBezTo>
                  <a:close/>
                  <a:moveTo>
                    <a:pt x="196" y="14"/>
                  </a:moveTo>
                  <a:cubicBezTo>
                    <a:pt x="191" y="14"/>
                    <a:pt x="189" y="17"/>
                    <a:pt x="189" y="25"/>
                  </a:cubicBezTo>
                  <a:cubicBezTo>
                    <a:pt x="189" y="32"/>
                    <a:pt x="192" y="36"/>
                    <a:pt x="197" y="36"/>
                  </a:cubicBezTo>
                  <a:cubicBezTo>
                    <a:pt x="201" y="36"/>
                    <a:pt x="203" y="32"/>
                    <a:pt x="203" y="24"/>
                  </a:cubicBezTo>
                  <a:cubicBezTo>
                    <a:pt x="203" y="17"/>
                    <a:pt x="200" y="14"/>
                    <a:pt x="196" y="14"/>
                  </a:cubicBezTo>
                  <a:close/>
                  <a:moveTo>
                    <a:pt x="230" y="38"/>
                  </a:moveTo>
                  <a:cubicBezTo>
                    <a:pt x="229" y="36"/>
                    <a:pt x="228" y="35"/>
                    <a:pt x="227" y="34"/>
                  </a:cubicBezTo>
                  <a:cubicBezTo>
                    <a:pt x="215" y="17"/>
                    <a:pt x="215" y="17"/>
                    <a:pt x="215" y="17"/>
                  </a:cubicBezTo>
                  <a:cubicBezTo>
                    <a:pt x="215" y="17"/>
                    <a:pt x="215" y="17"/>
                    <a:pt x="215" y="17"/>
                  </a:cubicBezTo>
                  <a:cubicBezTo>
                    <a:pt x="215" y="27"/>
                    <a:pt x="215" y="27"/>
                    <a:pt x="215" y="27"/>
                  </a:cubicBezTo>
                  <a:cubicBezTo>
                    <a:pt x="215" y="34"/>
                    <a:pt x="215" y="35"/>
                    <a:pt x="220" y="35"/>
                  </a:cubicBezTo>
                  <a:cubicBezTo>
                    <a:pt x="220" y="35"/>
                    <a:pt x="220" y="36"/>
                    <a:pt x="220" y="36"/>
                  </a:cubicBezTo>
                  <a:cubicBezTo>
                    <a:pt x="220" y="37"/>
                    <a:pt x="220" y="37"/>
                    <a:pt x="220" y="37"/>
                  </a:cubicBezTo>
                  <a:cubicBezTo>
                    <a:pt x="218" y="37"/>
                    <a:pt x="216" y="37"/>
                    <a:pt x="214" y="37"/>
                  </a:cubicBezTo>
                  <a:cubicBezTo>
                    <a:pt x="212" y="37"/>
                    <a:pt x="211" y="37"/>
                    <a:pt x="209" y="37"/>
                  </a:cubicBezTo>
                  <a:cubicBezTo>
                    <a:pt x="209" y="36"/>
                    <a:pt x="209" y="36"/>
                    <a:pt x="209" y="36"/>
                  </a:cubicBezTo>
                  <a:cubicBezTo>
                    <a:pt x="209" y="36"/>
                    <a:pt x="209" y="35"/>
                    <a:pt x="210" y="35"/>
                  </a:cubicBezTo>
                  <a:cubicBezTo>
                    <a:pt x="213" y="35"/>
                    <a:pt x="213" y="34"/>
                    <a:pt x="213" y="27"/>
                  </a:cubicBezTo>
                  <a:cubicBezTo>
                    <a:pt x="213" y="19"/>
                    <a:pt x="213" y="19"/>
                    <a:pt x="213" y="19"/>
                  </a:cubicBezTo>
                  <a:cubicBezTo>
                    <a:pt x="213" y="14"/>
                    <a:pt x="213" y="14"/>
                    <a:pt x="210" y="14"/>
                  </a:cubicBezTo>
                  <a:cubicBezTo>
                    <a:pt x="209" y="14"/>
                    <a:pt x="209" y="14"/>
                    <a:pt x="209" y="13"/>
                  </a:cubicBezTo>
                  <a:cubicBezTo>
                    <a:pt x="209" y="12"/>
                    <a:pt x="209" y="12"/>
                    <a:pt x="209" y="12"/>
                  </a:cubicBezTo>
                  <a:cubicBezTo>
                    <a:pt x="211" y="12"/>
                    <a:pt x="213" y="12"/>
                    <a:pt x="214" y="12"/>
                  </a:cubicBezTo>
                  <a:cubicBezTo>
                    <a:pt x="215" y="12"/>
                    <a:pt x="217" y="12"/>
                    <a:pt x="218" y="12"/>
                  </a:cubicBezTo>
                  <a:cubicBezTo>
                    <a:pt x="230" y="30"/>
                    <a:pt x="230" y="30"/>
                    <a:pt x="230" y="30"/>
                  </a:cubicBezTo>
                  <a:cubicBezTo>
                    <a:pt x="230" y="30"/>
                    <a:pt x="230" y="30"/>
                    <a:pt x="230" y="30"/>
                  </a:cubicBezTo>
                  <a:cubicBezTo>
                    <a:pt x="230" y="22"/>
                    <a:pt x="230" y="22"/>
                    <a:pt x="230" y="22"/>
                  </a:cubicBezTo>
                  <a:cubicBezTo>
                    <a:pt x="230" y="15"/>
                    <a:pt x="230" y="14"/>
                    <a:pt x="226" y="14"/>
                  </a:cubicBezTo>
                  <a:cubicBezTo>
                    <a:pt x="226" y="14"/>
                    <a:pt x="226" y="14"/>
                    <a:pt x="226" y="13"/>
                  </a:cubicBezTo>
                  <a:cubicBezTo>
                    <a:pt x="226" y="12"/>
                    <a:pt x="226" y="12"/>
                    <a:pt x="226" y="12"/>
                  </a:cubicBezTo>
                  <a:cubicBezTo>
                    <a:pt x="227" y="12"/>
                    <a:pt x="230" y="12"/>
                    <a:pt x="232" y="12"/>
                  </a:cubicBezTo>
                  <a:cubicBezTo>
                    <a:pt x="233" y="12"/>
                    <a:pt x="235" y="12"/>
                    <a:pt x="236" y="12"/>
                  </a:cubicBezTo>
                  <a:cubicBezTo>
                    <a:pt x="236" y="13"/>
                    <a:pt x="236" y="13"/>
                    <a:pt x="236" y="13"/>
                  </a:cubicBezTo>
                  <a:cubicBezTo>
                    <a:pt x="236" y="14"/>
                    <a:pt x="236" y="14"/>
                    <a:pt x="236" y="14"/>
                  </a:cubicBezTo>
                  <a:cubicBezTo>
                    <a:pt x="233" y="14"/>
                    <a:pt x="233" y="15"/>
                    <a:pt x="233" y="22"/>
                  </a:cubicBezTo>
                  <a:cubicBezTo>
                    <a:pt x="233" y="38"/>
                    <a:pt x="233" y="38"/>
                    <a:pt x="233" y="38"/>
                  </a:cubicBezTo>
                  <a:lnTo>
                    <a:pt x="230" y="38"/>
                  </a:lnTo>
                  <a:close/>
                  <a:moveTo>
                    <a:pt x="290" y="38"/>
                  </a:moveTo>
                  <a:cubicBezTo>
                    <a:pt x="284" y="38"/>
                    <a:pt x="278" y="33"/>
                    <a:pt x="278" y="25"/>
                  </a:cubicBezTo>
                  <a:cubicBezTo>
                    <a:pt x="278" y="16"/>
                    <a:pt x="284" y="11"/>
                    <a:pt x="290" y="11"/>
                  </a:cubicBezTo>
                  <a:cubicBezTo>
                    <a:pt x="297" y="11"/>
                    <a:pt x="302" y="16"/>
                    <a:pt x="302" y="24"/>
                  </a:cubicBezTo>
                  <a:cubicBezTo>
                    <a:pt x="302" y="33"/>
                    <a:pt x="297" y="38"/>
                    <a:pt x="290" y="38"/>
                  </a:cubicBezTo>
                  <a:close/>
                  <a:moveTo>
                    <a:pt x="290" y="14"/>
                  </a:moveTo>
                  <a:cubicBezTo>
                    <a:pt x="285" y="14"/>
                    <a:pt x="283" y="17"/>
                    <a:pt x="283" y="25"/>
                  </a:cubicBezTo>
                  <a:cubicBezTo>
                    <a:pt x="283" y="32"/>
                    <a:pt x="286" y="36"/>
                    <a:pt x="291" y="36"/>
                  </a:cubicBezTo>
                  <a:cubicBezTo>
                    <a:pt x="295" y="36"/>
                    <a:pt x="298" y="32"/>
                    <a:pt x="298" y="24"/>
                  </a:cubicBezTo>
                  <a:cubicBezTo>
                    <a:pt x="298" y="17"/>
                    <a:pt x="294" y="14"/>
                    <a:pt x="290" y="14"/>
                  </a:cubicBezTo>
                  <a:close/>
                  <a:moveTo>
                    <a:pt x="324" y="38"/>
                  </a:moveTo>
                  <a:cubicBezTo>
                    <a:pt x="323" y="36"/>
                    <a:pt x="322" y="35"/>
                    <a:pt x="321" y="34"/>
                  </a:cubicBezTo>
                  <a:cubicBezTo>
                    <a:pt x="310" y="17"/>
                    <a:pt x="310" y="17"/>
                    <a:pt x="310" y="17"/>
                  </a:cubicBezTo>
                  <a:cubicBezTo>
                    <a:pt x="310" y="17"/>
                    <a:pt x="310" y="17"/>
                    <a:pt x="310" y="17"/>
                  </a:cubicBezTo>
                  <a:cubicBezTo>
                    <a:pt x="310" y="27"/>
                    <a:pt x="310" y="27"/>
                    <a:pt x="310" y="27"/>
                  </a:cubicBezTo>
                  <a:cubicBezTo>
                    <a:pt x="310" y="34"/>
                    <a:pt x="310" y="35"/>
                    <a:pt x="314" y="35"/>
                  </a:cubicBezTo>
                  <a:cubicBezTo>
                    <a:pt x="314" y="35"/>
                    <a:pt x="314" y="36"/>
                    <a:pt x="314" y="36"/>
                  </a:cubicBezTo>
                  <a:cubicBezTo>
                    <a:pt x="314" y="37"/>
                    <a:pt x="314" y="37"/>
                    <a:pt x="314" y="37"/>
                  </a:cubicBezTo>
                  <a:cubicBezTo>
                    <a:pt x="313" y="37"/>
                    <a:pt x="310" y="37"/>
                    <a:pt x="308" y="37"/>
                  </a:cubicBezTo>
                  <a:cubicBezTo>
                    <a:pt x="306" y="37"/>
                    <a:pt x="305" y="37"/>
                    <a:pt x="303" y="37"/>
                  </a:cubicBezTo>
                  <a:cubicBezTo>
                    <a:pt x="303" y="36"/>
                    <a:pt x="303" y="36"/>
                    <a:pt x="303" y="36"/>
                  </a:cubicBezTo>
                  <a:cubicBezTo>
                    <a:pt x="303" y="36"/>
                    <a:pt x="304" y="35"/>
                    <a:pt x="304" y="35"/>
                  </a:cubicBezTo>
                  <a:cubicBezTo>
                    <a:pt x="307" y="35"/>
                    <a:pt x="307" y="34"/>
                    <a:pt x="307" y="27"/>
                  </a:cubicBezTo>
                  <a:cubicBezTo>
                    <a:pt x="307" y="19"/>
                    <a:pt x="307" y="19"/>
                    <a:pt x="307" y="19"/>
                  </a:cubicBezTo>
                  <a:cubicBezTo>
                    <a:pt x="307" y="14"/>
                    <a:pt x="307" y="14"/>
                    <a:pt x="304" y="14"/>
                  </a:cubicBezTo>
                  <a:cubicBezTo>
                    <a:pt x="304" y="14"/>
                    <a:pt x="303" y="14"/>
                    <a:pt x="303" y="13"/>
                  </a:cubicBezTo>
                  <a:cubicBezTo>
                    <a:pt x="303" y="12"/>
                    <a:pt x="303" y="12"/>
                    <a:pt x="303" y="12"/>
                  </a:cubicBezTo>
                  <a:cubicBezTo>
                    <a:pt x="305" y="12"/>
                    <a:pt x="307" y="12"/>
                    <a:pt x="308" y="12"/>
                  </a:cubicBezTo>
                  <a:cubicBezTo>
                    <a:pt x="309" y="12"/>
                    <a:pt x="311" y="12"/>
                    <a:pt x="312" y="12"/>
                  </a:cubicBezTo>
                  <a:cubicBezTo>
                    <a:pt x="324" y="30"/>
                    <a:pt x="324" y="30"/>
                    <a:pt x="324" y="30"/>
                  </a:cubicBezTo>
                  <a:cubicBezTo>
                    <a:pt x="324" y="30"/>
                    <a:pt x="324" y="30"/>
                    <a:pt x="324" y="30"/>
                  </a:cubicBezTo>
                  <a:cubicBezTo>
                    <a:pt x="324" y="22"/>
                    <a:pt x="324" y="22"/>
                    <a:pt x="324" y="22"/>
                  </a:cubicBezTo>
                  <a:cubicBezTo>
                    <a:pt x="324" y="15"/>
                    <a:pt x="324" y="14"/>
                    <a:pt x="320" y="14"/>
                  </a:cubicBezTo>
                  <a:cubicBezTo>
                    <a:pt x="320" y="14"/>
                    <a:pt x="320" y="14"/>
                    <a:pt x="320" y="13"/>
                  </a:cubicBezTo>
                  <a:cubicBezTo>
                    <a:pt x="320" y="12"/>
                    <a:pt x="320" y="12"/>
                    <a:pt x="320" y="12"/>
                  </a:cubicBezTo>
                  <a:cubicBezTo>
                    <a:pt x="321" y="12"/>
                    <a:pt x="324" y="12"/>
                    <a:pt x="326" y="12"/>
                  </a:cubicBezTo>
                  <a:cubicBezTo>
                    <a:pt x="328" y="12"/>
                    <a:pt x="329" y="12"/>
                    <a:pt x="330" y="12"/>
                  </a:cubicBezTo>
                  <a:cubicBezTo>
                    <a:pt x="330" y="13"/>
                    <a:pt x="330" y="13"/>
                    <a:pt x="330" y="13"/>
                  </a:cubicBezTo>
                  <a:cubicBezTo>
                    <a:pt x="330" y="14"/>
                    <a:pt x="330" y="14"/>
                    <a:pt x="330" y="14"/>
                  </a:cubicBezTo>
                  <a:cubicBezTo>
                    <a:pt x="327" y="14"/>
                    <a:pt x="327" y="15"/>
                    <a:pt x="327" y="22"/>
                  </a:cubicBezTo>
                  <a:cubicBezTo>
                    <a:pt x="327" y="38"/>
                    <a:pt x="327" y="38"/>
                    <a:pt x="327" y="38"/>
                  </a:cubicBezTo>
                  <a:lnTo>
                    <a:pt x="324" y="38"/>
                  </a:lnTo>
                  <a:close/>
                  <a:moveTo>
                    <a:pt x="335" y="36"/>
                  </a:moveTo>
                  <a:cubicBezTo>
                    <a:pt x="334" y="37"/>
                    <a:pt x="334" y="37"/>
                    <a:pt x="334" y="37"/>
                  </a:cubicBezTo>
                  <a:cubicBezTo>
                    <a:pt x="334" y="37"/>
                    <a:pt x="334" y="37"/>
                    <a:pt x="333" y="37"/>
                  </a:cubicBezTo>
                  <a:cubicBezTo>
                    <a:pt x="333" y="37"/>
                    <a:pt x="333" y="37"/>
                    <a:pt x="333" y="37"/>
                  </a:cubicBezTo>
                  <a:cubicBezTo>
                    <a:pt x="333" y="36"/>
                    <a:pt x="333" y="31"/>
                    <a:pt x="333" y="29"/>
                  </a:cubicBezTo>
                  <a:cubicBezTo>
                    <a:pt x="334" y="29"/>
                    <a:pt x="334" y="29"/>
                    <a:pt x="334" y="29"/>
                  </a:cubicBezTo>
                  <a:cubicBezTo>
                    <a:pt x="334" y="29"/>
                    <a:pt x="334" y="29"/>
                    <a:pt x="334" y="30"/>
                  </a:cubicBezTo>
                  <a:cubicBezTo>
                    <a:pt x="335" y="33"/>
                    <a:pt x="337" y="36"/>
                    <a:pt x="340" y="36"/>
                  </a:cubicBezTo>
                  <a:cubicBezTo>
                    <a:pt x="343" y="36"/>
                    <a:pt x="345" y="34"/>
                    <a:pt x="345" y="32"/>
                  </a:cubicBezTo>
                  <a:cubicBezTo>
                    <a:pt x="345" y="25"/>
                    <a:pt x="333" y="27"/>
                    <a:pt x="333" y="19"/>
                  </a:cubicBezTo>
                  <a:cubicBezTo>
                    <a:pt x="333" y="14"/>
                    <a:pt x="336" y="11"/>
                    <a:pt x="340" y="11"/>
                  </a:cubicBezTo>
                  <a:cubicBezTo>
                    <a:pt x="342" y="11"/>
                    <a:pt x="344" y="12"/>
                    <a:pt x="345" y="13"/>
                  </a:cubicBezTo>
                  <a:cubicBezTo>
                    <a:pt x="346" y="12"/>
                    <a:pt x="346" y="12"/>
                    <a:pt x="346" y="12"/>
                  </a:cubicBezTo>
                  <a:cubicBezTo>
                    <a:pt x="346" y="12"/>
                    <a:pt x="346" y="12"/>
                    <a:pt x="346" y="12"/>
                  </a:cubicBezTo>
                  <a:cubicBezTo>
                    <a:pt x="347" y="12"/>
                    <a:pt x="347" y="12"/>
                    <a:pt x="347" y="12"/>
                  </a:cubicBezTo>
                  <a:cubicBezTo>
                    <a:pt x="347" y="13"/>
                    <a:pt x="347" y="17"/>
                    <a:pt x="347" y="19"/>
                  </a:cubicBezTo>
                  <a:cubicBezTo>
                    <a:pt x="346" y="19"/>
                    <a:pt x="346" y="19"/>
                    <a:pt x="346" y="19"/>
                  </a:cubicBezTo>
                  <a:cubicBezTo>
                    <a:pt x="346" y="19"/>
                    <a:pt x="346" y="19"/>
                    <a:pt x="346" y="19"/>
                  </a:cubicBezTo>
                  <a:cubicBezTo>
                    <a:pt x="345" y="16"/>
                    <a:pt x="343" y="14"/>
                    <a:pt x="340" y="14"/>
                  </a:cubicBezTo>
                  <a:cubicBezTo>
                    <a:pt x="337" y="14"/>
                    <a:pt x="336" y="15"/>
                    <a:pt x="336" y="17"/>
                  </a:cubicBezTo>
                  <a:cubicBezTo>
                    <a:pt x="336" y="23"/>
                    <a:pt x="349" y="21"/>
                    <a:pt x="349" y="30"/>
                  </a:cubicBezTo>
                  <a:cubicBezTo>
                    <a:pt x="349" y="35"/>
                    <a:pt x="345" y="38"/>
                    <a:pt x="340" y="38"/>
                  </a:cubicBezTo>
                  <a:cubicBezTo>
                    <a:pt x="338" y="38"/>
                    <a:pt x="336" y="37"/>
                    <a:pt x="335" y="36"/>
                  </a:cubicBezTo>
                  <a:close/>
                  <a:moveTo>
                    <a:pt x="364" y="38"/>
                  </a:moveTo>
                  <a:cubicBezTo>
                    <a:pt x="357" y="38"/>
                    <a:pt x="354" y="35"/>
                    <a:pt x="354" y="28"/>
                  </a:cubicBezTo>
                  <a:cubicBezTo>
                    <a:pt x="354" y="19"/>
                    <a:pt x="354" y="19"/>
                    <a:pt x="354" y="19"/>
                  </a:cubicBezTo>
                  <a:cubicBezTo>
                    <a:pt x="354" y="14"/>
                    <a:pt x="354" y="14"/>
                    <a:pt x="350" y="14"/>
                  </a:cubicBezTo>
                  <a:cubicBezTo>
                    <a:pt x="350" y="14"/>
                    <a:pt x="350" y="14"/>
                    <a:pt x="350" y="13"/>
                  </a:cubicBezTo>
                  <a:cubicBezTo>
                    <a:pt x="350" y="12"/>
                    <a:pt x="350" y="12"/>
                    <a:pt x="350" y="12"/>
                  </a:cubicBezTo>
                  <a:cubicBezTo>
                    <a:pt x="352" y="12"/>
                    <a:pt x="354" y="12"/>
                    <a:pt x="356" y="12"/>
                  </a:cubicBezTo>
                  <a:cubicBezTo>
                    <a:pt x="357" y="12"/>
                    <a:pt x="360" y="12"/>
                    <a:pt x="361" y="12"/>
                  </a:cubicBezTo>
                  <a:cubicBezTo>
                    <a:pt x="361" y="13"/>
                    <a:pt x="361" y="13"/>
                    <a:pt x="361" y="13"/>
                  </a:cubicBezTo>
                  <a:cubicBezTo>
                    <a:pt x="361" y="14"/>
                    <a:pt x="361" y="14"/>
                    <a:pt x="361" y="14"/>
                  </a:cubicBezTo>
                  <a:cubicBezTo>
                    <a:pt x="358" y="14"/>
                    <a:pt x="358" y="14"/>
                    <a:pt x="358" y="19"/>
                  </a:cubicBezTo>
                  <a:cubicBezTo>
                    <a:pt x="358" y="29"/>
                    <a:pt x="358" y="29"/>
                    <a:pt x="358" y="29"/>
                  </a:cubicBezTo>
                  <a:cubicBezTo>
                    <a:pt x="358" y="33"/>
                    <a:pt x="360" y="35"/>
                    <a:pt x="364" y="35"/>
                  </a:cubicBezTo>
                  <a:cubicBezTo>
                    <a:pt x="369" y="35"/>
                    <a:pt x="371" y="33"/>
                    <a:pt x="371" y="28"/>
                  </a:cubicBezTo>
                  <a:cubicBezTo>
                    <a:pt x="371" y="22"/>
                    <a:pt x="371" y="22"/>
                    <a:pt x="371" y="22"/>
                  </a:cubicBezTo>
                  <a:cubicBezTo>
                    <a:pt x="371" y="15"/>
                    <a:pt x="371" y="14"/>
                    <a:pt x="366" y="14"/>
                  </a:cubicBezTo>
                  <a:cubicBezTo>
                    <a:pt x="366" y="14"/>
                    <a:pt x="366" y="14"/>
                    <a:pt x="366" y="13"/>
                  </a:cubicBezTo>
                  <a:cubicBezTo>
                    <a:pt x="366" y="12"/>
                    <a:pt x="366" y="12"/>
                    <a:pt x="366" y="12"/>
                  </a:cubicBezTo>
                  <a:cubicBezTo>
                    <a:pt x="368" y="12"/>
                    <a:pt x="370" y="12"/>
                    <a:pt x="372" y="12"/>
                  </a:cubicBezTo>
                  <a:cubicBezTo>
                    <a:pt x="374" y="12"/>
                    <a:pt x="374" y="12"/>
                    <a:pt x="376" y="12"/>
                  </a:cubicBezTo>
                  <a:cubicBezTo>
                    <a:pt x="376" y="13"/>
                    <a:pt x="376" y="13"/>
                    <a:pt x="376" y="13"/>
                  </a:cubicBezTo>
                  <a:cubicBezTo>
                    <a:pt x="376" y="14"/>
                    <a:pt x="376" y="14"/>
                    <a:pt x="376" y="14"/>
                  </a:cubicBezTo>
                  <a:cubicBezTo>
                    <a:pt x="373" y="14"/>
                    <a:pt x="373" y="15"/>
                    <a:pt x="373" y="22"/>
                  </a:cubicBezTo>
                  <a:cubicBezTo>
                    <a:pt x="373" y="28"/>
                    <a:pt x="373" y="28"/>
                    <a:pt x="373" y="28"/>
                  </a:cubicBezTo>
                  <a:cubicBezTo>
                    <a:pt x="373" y="35"/>
                    <a:pt x="370" y="38"/>
                    <a:pt x="364" y="38"/>
                  </a:cubicBezTo>
                  <a:close/>
                  <a:moveTo>
                    <a:pt x="392" y="37"/>
                  </a:moveTo>
                  <a:cubicBezTo>
                    <a:pt x="383" y="37"/>
                    <a:pt x="383" y="37"/>
                    <a:pt x="383" y="37"/>
                  </a:cubicBezTo>
                  <a:cubicBezTo>
                    <a:pt x="381" y="37"/>
                    <a:pt x="379" y="37"/>
                    <a:pt x="378" y="37"/>
                  </a:cubicBezTo>
                  <a:cubicBezTo>
                    <a:pt x="378" y="36"/>
                    <a:pt x="378" y="36"/>
                    <a:pt x="378" y="36"/>
                  </a:cubicBezTo>
                  <a:cubicBezTo>
                    <a:pt x="378" y="36"/>
                    <a:pt x="378" y="35"/>
                    <a:pt x="378" y="35"/>
                  </a:cubicBezTo>
                  <a:cubicBezTo>
                    <a:pt x="381" y="35"/>
                    <a:pt x="381" y="35"/>
                    <a:pt x="381" y="30"/>
                  </a:cubicBezTo>
                  <a:cubicBezTo>
                    <a:pt x="381" y="19"/>
                    <a:pt x="381" y="19"/>
                    <a:pt x="381" y="19"/>
                  </a:cubicBezTo>
                  <a:cubicBezTo>
                    <a:pt x="381" y="14"/>
                    <a:pt x="381" y="14"/>
                    <a:pt x="378" y="14"/>
                  </a:cubicBezTo>
                  <a:cubicBezTo>
                    <a:pt x="378" y="14"/>
                    <a:pt x="378" y="14"/>
                    <a:pt x="378" y="13"/>
                  </a:cubicBezTo>
                  <a:cubicBezTo>
                    <a:pt x="378" y="12"/>
                    <a:pt x="378" y="12"/>
                    <a:pt x="378" y="12"/>
                  </a:cubicBezTo>
                  <a:cubicBezTo>
                    <a:pt x="379" y="12"/>
                    <a:pt x="382" y="12"/>
                    <a:pt x="383" y="12"/>
                  </a:cubicBezTo>
                  <a:cubicBezTo>
                    <a:pt x="385" y="12"/>
                    <a:pt x="388" y="12"/>
                    <a:pt x="390" y="12"/>
                  </a:cubicBezTo>
                  <a:cubicBezTo>
                    <a:pt x="390" y="13"/>
                    <a:pt x="390" y="13"/>
                    <a:pt x="390" y="13"/>
                  </a:cubicBezTo>
                  <a:cubicBezTo>
                    <a:pt x="390" y="14"/>
                    <a:pt x="390" y="14"/>
                    <a:pt x="389" y="14"/>
                  </a:cubicBezTo>
                  <a:cubicBezTo>
                    <a:pt x="386" y="14"/>
                    <a:pt x="386" y="14"/>
                    <a:pt x="386" y="19"/>
                  </a:cubicBezTo>
                  <a:cubicBezTo>
                    <a:pt x="386" y="30"/>
                    <a:pt x="386" y="30"/>
                    <a:pt x="386" y="30"/>
                  </a:cubicBezTo>
                  <a:cubicBezTo>
                    <a:pt x="386" y="35"/>
                    <a:pt x="386" y="35"/>
                    <a:pt x="389" y="35"/>
                  </a:cubicBezTo>
                  <a:cubicBezTo>
                    <a:pt x="391" y="35"/>
                    <a:pt x="391" y="35"/>
                    <a:pt x="391" y="35"/>
                  </a:cubicBezTo>
                  <a:cubicBezTo>
                    <a:pt x="394" y="35"/>
                    <a:pt x="395" y="34"/>
                    <a:pt x="396" y="29"/>
                  </a:cubicBezTo>
                  <a:cubicBezTo>
                    <a:pt x="396" y="29"/>
                    <a:pt x="396" y="29"/>
                    <a:pt x="396" y="29"/>
                  </a:cubicBezTo>
                  <a:cubicBezTo>
                    <a:pt x="397" y="29"/>
                    <a:pt x="397" y="29"/>
                    <a:pt x="397" y="29"/>
                  </a:cubicBezTo>
                  <a:cubicBezTo>
                    <a:pt x="397" y="31"/>
                    <a:pt x="397" y="35"/>
                    <a:pt x="397" y="37"/>
                  </a:cubicBezTo>
                  <a:cubicBezTo>
                    <a:pt x="396" y="37"/>
                    <a:pt x="395" y="37"/>
                    <a:pt x="392" y="37"/>
                  </a:cubicBezTo>
                  <a:close/>
                  <a:moveTo>
                    <a:pt x="407" y="37"/>
                  </a:moveTo>
                  <a:cubicBezTo>
                    <a:pt x="405" y="37"/>
                    <a:pt x="403" y="37"/>
                    <a:pt x="401" y="37"/>
                  </a:cubicBezTo>
                  <a:cubicBezTo>
                    <a:pt x="401" y="36"/>
                    <a:pt x="401" y="36"/>
                    <a:pt x="401" y="36"/>
                  </a:cubicBezTo>
                  <a:cubicBezTo>
                    <a:pt x="401" y="36"/>
                    <a:pt x="401" y="35"/>
                    <a:pt x="401" y="35"/>
                  </a:cubicBezTo>
                  <a:cubicBezTo>
                    <a:pt x="404" y="35"/>
                    <a:pt x="404" y="35"/>
                    <a:pt x="404" y="30"/>
                  </a:cubicBezTo>
                  <a:cubicBezTo>
                    <a:pt x="404" y="15"/>
                    <a:pt x="404" y="15"/>
                    <a:pt x="404" y="15"/>
                  </a:cubicBezTo>
                  <a:cubicBezTo>
                    <a:pt x="404" y="14"/>
                    <a:pt x="404" y="14"/>
                    <a:pt x="404" y="14"/>
                  </a:cubicBezTo>
                  <a:cubicBezTo>
                    <a:pt x="402" y="14"/>
                    <a:pt x="402" y="14"/>
                    <a:pt x="402" y="14"/>
                  </a:cubicBezTo>
                  <a:cubicBezTo>
                    <a:pt x="399" y="14"/>
                    <a:pt x="397" y="14"/>
                    <a:pt x="397" y="19"/>
                  </a:cubicBezTo>
                  <a:cubicBezTo>
                    <a:pt x="397" y="19"/>
                    <a:pt x="397" y="19"/>
                    <a:pt x="396" y="19"/>
                  </a:cubicBezTo>
                  <a:cubicBezTo>
                    <a:pt x="395" y="19"/>
                    <a:pt x="395" y="19"/>
                    <a:pt x="395" y="19"/>
                  </a:cubicBezTo>
                  <a:cubicBezTo>
                    <a:pt x="395" y="18"/>
                    <a:pt x="395" y="14"/>
                    <a:pt x="395" y="12"/>
                  </a:cubicBezTo>
                  <a:cubicBezTo>
                    <a:pt x="397" y="12"/>
                    <a:pt x="399" y="12"/>
                    <a:pt x="402" y="12"/>
                  </a:cubicBezTo>
                  <a:cubicBezTo>
                    <a:pt x="411" y="12"/>
                    <a:pt x="411" y="12"/>
                    <a:pt x="411" y="12"/>
                  </a:cubicBezTo>
                  <a:cubicBezTo>
                    <a:pt x="414" y="12"/>
                    <a:pt x="416" y="12"/>
                    <a:pt x="418" y="12"/>
                  </a:cubicBezTo>
                  <a:cubicBezTo>
                    <a:pt x="418" y="14"/>
                    <a:pt x="418" y="18"/>
                    <a:pt x="418" y="19"/>
                  </a:cubicBezTo>
                  <a:cubicBezTo>
                    <a:pt x="417" y="19"/>
                    <a:pt x="417" y="19"/>
                    <a:pt x="417" y="19"/>
                  </a:cubicBezTo>
                  <a:cubicBezTo>
                    <a:pt x="417" y="19"/>
                    <a:pt x="416" y="19"/>
                    <a:pt x="416" y="19"/>
                  </a:cubicBezTo>
                  <a:cubicBezTo>
                    <a:pt x="416" y="14"/>
                    <a:pt x="414" y="14"/>
                    <a:pt x="411" y="14"/>
                  </a:cubicBezTo>
                  <a:cubicBezTo>
                    <a:pt x="409" y="14"/>
                    <a:pt x="409" y="14"/>
                    <a:pt x="409" y="14"/>
                  </a:cubicBezTo>
                  <a:cubicBezTo>
                    <a:pt x="409" y="14"/>
                    <a:pt x="409" y="14"/>
                    <a:pt x="409" y="15"/>
                  </a:cubicBezTo>
                  <a:cubicBezTo>
                    <a:pt x="409" y="30"/>
                    <a:pt x="409" y="30"/>
                    <a:pt x="409" y="30"/>
                  </a:cubicBezTo>
                  <a:cubicBezTo>
                    <a:pt x="409" y="35"/>
                    <a:pt x="409" y="35"/>
                    <a:pt x="412" y="35"/>
                  </a:cubicBezTo>
                  <a:cubicBezTo>
                    <a:pt x="412" y="35"/>
                    <a:pt x="412" y="36"/>
                    <a:pt x="412" y="36"/>
                  </a:cubicBezTo>
                  <a:cubicBezTo>
                    <a:pt x="412" y="37"/>
                    <a:pt x="412" y="37"/>
                    <a:pt x="412" y="37"/>
                  </a:cubicBezTo>
                  <a:cubicBezTo>
                    <a:pt x="410" y="37"/>
                    <a:pt x="408" y="37"/>
                    <a:pt x="407" y="37"/>
                  </a:cubicBezTo>
                  <a:close/>
                  <a:moveTo>
                    <a:pt x="425" y="37"/>
                  </a:moveTo>
                  <a:cubicBezTo>
                    <a:pt x="423" y="37"/>
                    <a:pt x="421" y="37"/>
                    <a:pt x="419" y="37"/>
                  </a:cubicBezTo>
                  <a:cubicBezTo>
                    <a:pt x="419" y="36"/>
                    <a:pt x="419" y="36"/>
                    <a:pt x="419" y="36"/>
                  </a:cubicBezTo>
                  <a:cubicBezTo>
                    <a:pt x="419" y="36"/>
                    <a:pt x="419" y="35"/>
                    <a:pt x="420" y="35"/>
                  </a:cubicBezTo>
                  <a:cubicBezTo>
                    <a:pt x="423" y="35"/>
                    <a:pt x="423" y="35"/>
                    <a:pt x="423" y="30"/>
                  </a:cubicBezTo>
                  <a:cubicBezTo>
                    <a:pt x="423" y="19"/>
                    <a:pt x="423" y="19"/>
                    <a:pt x="423" y="19"/>
                  </a:cubicBezTo>
                  <a:cubicBezTo>
                    <a:pt x="423" y="14"/>
                    <a:pt x="423" y="14"/>
                    <a:pt x="420" y="14"/>
                  </a:cubicBezTo>
                  <a:cubicBezTo>
                    <a:pt x="419" y="14"/>
                    <a:pt x="419" y="14"/>
                    <a:pt x="419" y="13"/>
                  </a:cubicBezTo>
                  <a:cubicBezTo>
                    <a:pt x="419" y="12"/>
                    <a:pt x="419" y="12"/>
                    <a:pt x="419" y="12"/>
                  </a:cubicBezTo>
                  <a:cubicBezTo>
                    <a:pt x="421" y="12"/>
                    <a:pt x="423" y="12"/>
                    <a:pt x="425" y="12"/>
                  </a:cubicBezTo>
                  <a:cubicBezTo>
                    <a:pt x="427" y="12"/>
                    <a:pt x="429" y="12"/>
                    <a:pt x="430" y="12"/>
                  </a:cubicBezTo>
                  <a:cubicBezTo>
                    <a:pt x="430" y="13"/>
                    <a:pt x="430" y="13"/>
                    <a:pt x="430" y="13"/>
                  </a:cubicBezTo>
                  <a:cubicBezTo>
                    <a:pt x="430" y="14"/>
                    <a:pt x="430" y="14"/>
                    <a:pt x="430" y="14"/>
                  </a:cubicBezTo>
                  <a:cubicBezTo>
                    <a:pt x="427" y="14"/>
                    <a:pt x="427" y="14"/>
                    <a:pt x="427" y="19"/>
                  </a:cubicBezTo>
                  <a:cubicBezTo>
                    <a:pt x="427" y="30"/>
                    <a:pt x="427" y="30"/>
                    <a:pt x="427" y="30"/>
                  </a:cubicBezTo>
                  <a:cubicBezTo>
                    <a:pt x="427" y="35"/>
                    <a:pt x="427" y="35"/>
                    <a:pt x="430" y="35"/>
                  </a:cubicBezTo>
                  <a:cubicBezTo>
                    <a:pt x="430" y="35"/>
                    <a:pt x="430" y="36"/>
                    <a:pt x="430" y="36"/>
                  </a:cubicBezTo>
                  <a:cubicBezTo>
                    <a:pt x="430" y="37"/>
                    <a:pt x="430" y="37"/>
                    <a:pt x="430" y="37"/>
                  </a:cubicBezTo>
                  <a:cubicBezTo>
                    <a:pt x="429" y="37"/>
                    <a:pt x="427" y="37"/>
                    <a:pt x="425" y="37"/>
                  </a:cubicBezTo>
                  <a:close/>
                  <a:moveTo>
                    <a:pt x="453" y="38"/>
                  </a:moveTo>
                  <a:cubicBezTo>
                    <a:pt x="452" y="36"/>
                    <a:pt x="451" y="35"/>
                    <a:pt x="450" y="34"/>
                  </a:cubicBezTo>
                  <a:cubicBezTo>
                    <a:pt x="438" y="17"/>
                    <a:pt x="438" y="17"/>
                    <a:pt x="438" y="17"/>
                  </a:cubicBezTo>
                  <a:cubicBezTo>
                    <a:pt x="438" y="17"/>
                    <a:pt x="438" y="17"/>
                    <a:pt x="438" y="17"/>
                  </a:cubicBezTo>
                  <a:cubicBezTo>
                    <a:pt x="438" y="27"/>
                    <a:pt x="438" y="27"/>
                    <a:pt x="438" y="27"/>
                  </a:cubicBezTo>
                  <a:cubicBezTo>
                    <a:pt x="438" y="34"/>
                    <a:pt x="438" y="35"/>
                    <a:pt x="443" y="35"/>
                  </a:cubicBezTo>
                  <a:cubicBezTo>
                    <a:pt x="443" y="35"/>
                    <a:pt x="443" y="36"/>
                    <a:pt x="443" y="36"/>
                  </a:cubicBezTo>
                  <a:cubicBezTo>
                    <a:pt x="443" y="37"/>
                    <a:pt x="443" y="37"/>
                    <a:pt x="443" y="37"/>
                  </a:cubicBezTo>
                  <a:cubicBezTo>
                    <a:pt x="441" y="37"/>
                    <a:pt x="439" y="37"/>
                    <a:pt x="437" y="37"/>
                  </a:cubicBezTo>
                  <a:cubicBezTo>
                    <a:pt x="435" y="37"/>
                    <a:pt x="434" y="37"/>
                    <a:pt x="432" y="37"/>
                  </a:cubicBezTo>
                  <a:cubicBezTo>
                    <a:pt x="432" y="36"/>
                    <a:pt x="432" y="36"/>
                    <a:pt x="432" y="36"/>
                  </a:cubicBezTo>
                  <a:cubicBezTo>
                    <a:pt x="432" y="36"/>
                    <a:pt x="432" y="35"/>
                    <a:pt x="433" y="35"/>
                  </a:cubicBezTo>
                  <a:cubicBezTo>
                    <a:pt x="436" y="35"/>
                    <a:pt x="436" y="34"/>
                    <a:pt x="436" y="27"/>
                  </a:cubicBezTo>
                  <a:cubicBezTo>
                    <a:pt x="436" y="19"/>
                    <a:pt x="436" y="19"/>
                    <a:pt x="436" y="19"/>
                  </a:cubicBezTo>
                  <a:cubicBezTo>
                    <a:pt x="436" y="14"/>
                    <a:pt x="436" y="14"/>
                    <a:pt x="433" y="14"/>
                  </a:cubicBezTo>
                  <a:cubicBezTo>
                    <a:pt x="432" y="14"/>
                    <a:pt x="432" y="14"/>
                    <a:pt x="432" y="13"/>
                  </a:cubicBezTo>
                  <a:cubicBezTo>
                    <a:pt x="432" y="12"/>
                    <a:pt x="432" y="12"/>
                    <a:pt x="432" y="12"/>
                  </a:cubicBezTo>
                  <a:cubicBezTo>
                    <a:pt x="434" y="12"/>
                    <a:pt x="436" y="12"/>
                    <a:pt x="437" y="12"/>
                  </a:cubicBezTo>
                  <a:cubicBezTo>
                    <a:pt x="438" y="12"/>
                    <a:pt x="439" y="12"/>
                    <a:pt x="440" y="12"/>
                  </a:cubicBezTo>
                  <a:cubicBezTo>
                    <a:pt x="453" y="30"/>
                    <a:pt x="453" y="30"/>
                    <a:pt x="453" y="30"/>
                  </a:cubicBezTo>
                  <a:cubicBezTo>
                    <a:pt x="453" y="22"/>
                    <a:pt x="453" y="22"/>
                    <a:pt x="453" y="22"/>
                  </a:cubicBezTo>
                  <a:cubicBezTo>
                    <a:pt x="453" y="15"/>
                    <a:pt x="453" y="14"/>
                    <a:pt x="449" y="14"/>
                  </a:cubicBezTo>
                  <a:cubicBezTo>
                    <a:pt x="449" y="14"/>
                    <a:pt x="449" y="14"/>
                    <a:pt x="449" y="13"/>
                  </a:cubicBezTo>
                  <a:cubicBezTo>
                    <a:pt x="449" y="12"/>
                    <a:pt x="449" y="12"/>
                    <a:pt x="449" y="12"/>
                  </a:cubicBezTo>
                  <a:cubicBezTo>
                    <a:pt x="450" y="12"/>
                    <a:pt x="453" y="12"/>
                    <a:pt x="455" y="12"/>
                  </a:cubicBezTo>
                  <a:cubicBezTo>
                    <a:pt x="456" y="12"/>
                    <a:pt x="458" y="12"/>
                    <a:pt x="459" y="12"/>
                  </a:cubicBezTo>
                  <a:cubicBezTo>
                    <a:pt x="459" y="13"/>
                    <a:pt x="459" y="13"/>
                    <a:pt x="459" y="13"/>
                  </a:cubicBezTo>
                  <a:cubicBezTo>
                    <a:pt x="459" y="14"/>
                    <a:pt x="459" y="14"/>
                    <a:pt x="459" y="14"/>
                  </a:cubicBezTo>
                  <a:cubicBezTo>
                    <a:pt x="456" y="14"/>
                    <a:pt x="456" y="15"/>
                    <a:pt x="456" y="22"/>
                  </a:cubicBezTo>
                  <a:cubicBezTo>
                    <a:pt x="456" y="38"/>
                    <a:pt x="456" y="38"/>
                    <a:pt x="456" y="38"/>
                  </a:cubicBezTo>
                  <a:lnTo>
                    <a:pt x="453" y="38"/>
                  </a:lnTo>
                  <a:close/>
                  <a:moveTo>
                    <a:pt x="484" y="27"/>
                  </a:moveTo>
                  <a:cubicBezTo>
                    <a:pt x="484" y="28"/>
                    <a:pt x="484" y="28"/>
                    <a:pt x="484" y="28"/>
                  </a:cubicBezTo>
                  <a:cubicBezTo>
                    <a:pt x="481" y="28"/>
                    <a:pt x="481" y="28"/>
                    <a:pt x="481" y="31"/>
                  </a:cubicBezTo>
                  <a:cubicBezTo>
                    <a:pt x="481" y="32"/>
                    <a:pt x="481" y="32"/>
                    <a:pt x="481" y="32"/>
                  </a:cubicBezTo>
                  <a:cubicBezTo>
                    <a:pt x="481" y="33"/>
                    <a:pt x="482" y="34"/>
                    <a:pt x="482" y="34"/>
                  </a:cubicBezTo>
                  <a:cubicBezTo>
                    <a:pt x="482" y="35"/>
                    <a:pt x="481" y="35"/>
                    <a:pt x="481" y="35"/>
                  </a:cubicBezTo>
                  <a:cubicBezTo>
                    <a:pt x="479" y="35"/>
                    <a:pt x="478" y="38"/>
                    <a:pt x="472" y="38"/>
                  </a:cubicBezTo>
                  <a:cubicBezTo>
                    <a:pt x="465" y="38"/>
                    <a:pt x="460" y="33"/>
                    <a:pt x="460" y="24"/>
                  </a:cubicBezTo>
                  <a:cubicBezTo>
                    <a:pt x="460" y="17"/>
                    <a:pt x="464" y="11"/>
                    <a:pt x="472" y="11"/>
                  </a:cubicBezTo>
                  <a:cubicBezTo>
                    <a:pt x="475" y="11"/>
                    <a:pt x="477" y="12"/>
                    <a:pt x="478" y="13"/>
                  </a:cubicBezTo>
                  <a:cubicBezTo>
                    <a:pt x="479" y="12"/>
                    <a:pt x="479" y="12"/>
                    <a:pt x="479" y="12"/>
                  </a:cubicBezTo>
                  <a:cubicBezTo>
                    <a:pt x="479" y="12"/>
                    <a:pt x="479" y="12"/>
                    <a:pt x="479" y="12"/>
                  </a:cubicBezTo>
                  <a:cubicBezTo>
                    <a:pt x="480" y="12"/>
                    <a:pt x="480" y="12"/>
                    <a:pt x="480" y="12"/>
                  </a:cubicBezTo>
                  <a:cubicBezTo>
                    <a:pt x="480" y="13"/>
                    <a:pt x="480" y="18"/>
                    <a:pt x="480" y="19"/>
                  </a:cubicBezTo>
                  <a:cubicBezTo>
                    <a:pt x="479" y="19"/>
                    <a:pt x="479" y="19"/>
                    <a:pt x="479" y="19"/>
                  </a:cubicBezTo>
                  <a:cubicBezTo>
                    <a:pt x="479" y="19"/>
                    <a:pt x="478" y="19"/>
                    <a:pt x="478" y="19"/>
                  </a:cubicBezTo>
                  <a:cubicBezTo>
                    <a:pt x="478" y="15"/>
                    <a:pt x="476" y="14"/>
                    <a:pt x="472" y="14"/>
                  </a:cubicBezTo>
                  <a:cubicBezTo>
                    <a:pt x="466" y="14"/>
                    <a:pt x="465" y="19"/>
                    <a:pt x="465" y="24"/>
                  </a:cubicBezTo>
                  <a:cubicBezTo>
                    <a:pt x="465" y="30"/>
                    <a:pt x="467" y="36"/>
                    <a:pt x="473" y="36"/>
                  </a:cubicBezTo>
                  <a:cubicBezTo>
                    <a:pt x="476" y="36"/>
                    <a:pt x="477" y="34"/>
                    <a:pt x="477" y="32"/>
                  </a:cubicBezTo>
                  <a:cubicBezTo>
                    <a:pt x="477" y="31"/>
                    <a:pt x="477" y="31"/>
                    <a:pt x="477" y="31"/>
                  </a:cubicBezTo>
                  <a:cubicBezTo>
                    <a:pt x="477" y="28"/>
                    <a:pt x="477" y="28"/>
                    <a:pt x="473" y="28"/>
                  </a:cubicBezTo>
                  <a:cubicBezTo>
                    <a:pt x="473" y="28"/>
                    <a:pt x="473" y="28"/>
                    <a:pt x="473" y="27"/>
                  </a:cubicBezTo>
                  <a:cubicBezTo>
                    <a:pt x="473" y="26"/>
                    <a:pt x="473" y="26"/>
                    <a:pt x="473" y="26"/>
                  </a:cubicBezTo>
                  <a:cubicBezTo>
                    <a:pt x="475" y="26"/>
                    <a:pt x="477" y="26"/>
                    <a:pt x="479" y="26"/>
                  </a:cubicBezTo>
                  <a:cubicBezTo>
                    <a:pt x="481" y="26"/>
                    <a:pt x="482" y="26"/>
                    <a:pt x="484" y="26"/>
                  </a:cubicBezTo>
                  <a:lnTo>
                    <a:pt x="484" y="27"/>
                  </a:lnTo>
                  <a:close/>
                  <a:moveTo>
                    <a:pt x="526" y="23"/>
                  </a:moveTo>
                  <a:cubicBezTo>
                    <a:pt x="526" y="23"/>
                    <a:pt x="526" y="23"/>
                    <a:pt x="525" y="23"/>
                  </a:cubicBezTo>
                  <a:cubicBezTo>
                    <a:pt x="522" y="24"/>
                    <a:pt x="522" y="24"/>
                    <a:pt x="522" y="28"/>
                  </a:cubicBezTo>
                  <a:cubicBezTo>
                    <a:pt x="522" y="30"/>
                    <a:pt x="522" y="30"/>
                    <a:pt x="522" y="30"/>
                  </a:cubicBezTo>
                  <a:cubicBezTo>
                    <a:pt x="522" y="31"/>
                    <a:pt x="522" y="32"/>
                    <a:pt x="522" y="33"/>
                  </a:cubicBezTo>
                  <a:cubicBezTo>
                    <a:pt x="522" y="33"/>
                    <a:pt x="522" y="33"/>
                    <a:pt x="522" y="33"/>
                  </a:cubicBezTo>
                  <a:cubicBezTo>
                    <a:pt x="519" y="33"/>
                    <a:pt x="517" y="38"/>
                    <a:pt x="510" y="38"/>
                  </a:cubicBezTo>
                  <a:cubicBezTo>
                    <a:pt x="500" y="38"/>
                    <a:pt x="493" y="31"/>
                    <a:pt x="493" y="19"/>
                  </a:cubicBezTo>
                  <a:cubicBezTo>
                    <a:pt x="493" y="8"/>
                    <a:pt x="499" y="0"/>
                    <a:pt x="510" y="0"/>
                  </a:cubicBezTo>
                  <a:cubicBezTo>
                    <a:pt x="513" y="0"/>
                    <a:pt x="516" y="1"/>
                    <a:pt x="518" y="2"/>
                  </a:cubicBezTo>
                  <a:cubicBezTo>
                    <a:pt x="518" y="2"/>
                    <a:pt x="518" y="2"/>
                    <a:pt x="518" y="2"/>
                  </a:cubicBezTo>
                  <a:cubicBezTo>
                    <a:pt x="519" y="1"/>
                    <a:pt x="519" y="1"/>
                    <a:pt x="519" y="1"/>
                  </a:cubicBezTo>
                  <a:cubicBezTo>
                    <a:pt x="519" y="0"/>
                    <a:pt x="519" y="0"/>
                    <a:pt x="520" y="0"/>
                  </a:cubicBezTo>
                  <a:cubicBezTo>
                    <a:pt x="520" y="0"/>
                    <a:pt x="520" y="0"/>
                    <a:pt x="520" y="0"/>
                  </a:cubicBezTo>
                  <a:cubicBezTo>
                    <a:pt x="520" y="3"/>
                    <a:pt x="520" y="8"/>
                    <a:pt x="520" y="11"/>
                  </a:cubicBezTo>
                  <a:cubicBezTo>
                    <a:pt x="519" y="11"/>
                    <a:pt x="519" y="11"/>
                    <a:pt x="519" y="11"/>
                  </a:cubicBezTo>
                  <a:cubicBezTo>
                    <a:pt x="519" y="11"/>
                    <a:pt x="519" y="11"/>
                    <a:pt x="519" y="10"/>
                  </a:cubicBezTo>
                  <a:cubicBezTo>
                    <a:pt x="517" y="5"/>
                    <a:pt x="515" y="2"/>
                    <a:pt x="510" y="2"/>
                  </a:cubicBezTo>
                  <a:cubicBezTo>
                    <a:pt x="501" y="2"/>
                    <a:pt x="499" y="11"/>
                    <a:pt x="499" y="19"/>
                  </a:cubicBezTo>
                  <a:cubicBezTo>
                    <a:pt x="499" y="27"/>
                    <a:pt x="501" y="35"/>
                    <a:pt x="510" y="35"/>
                  </a:cubicBezTo>
                  <a:cubicBezTo>
                    <a:pt x="515" y="35"/>
                    <a:pt x="518" y="33"/>
                    <a:pt x="518" y="30"/>
                  </a:cubicBezTo>
                  <a:cubicBezTo>
                    <a:pt x="518" y="28"/>
                    <a:pt x="518" y="28"/>
                    <a:pt x="518" y="28"/>
                  </a:cubicBezTo>
                  <a:cubicBezTo>
                    <a:pt x="518" y="24"/>
                    <a:pt x="518" y="24"/>
                    <a:pt x="512" y="23"/>
                  </a:cubicBezTo>
                  <a:cubicBezTo>
                    <a:pt x="512" y="23"/>
                    <a:pt x="512" y="23"/>
                    <a:pt x="512" y="23"/>
                  </a:cubicBezTo>
                  <a:cubicBezTo>
                    <a:pt x="512" y="21"/>
                    <a:pt x="512" y="21"/>
                    <a:pt x="512" y="21"/>
                  </a:cubicBezTo>
                  <a:cubicBezTo>
                    <a:pt x="514" y="21"/>
                    <a:pt x="517" y="21"/>
                    <a:pt x="519" y="21"/>
                  </a:cubicBezTo>
                  <a:cubicBezTo>
                    <a:pt x="522" y="21"/>
                    <a:pt x="523" y="21"/>
                    <a:pt x="526" y="21"/>
                  </a:cubicBezTo>
                  <a:lnTo>
                    <a:pt x="526" y="23"/>
                  </a:lnTo>
                  <a:close/>
                  <a:moveTo>
                    <a:pt x="540" y="24"/>
                  </a:moveTo>
                  <a:cubicBezTo>
                    <a:pt x="540" y="24"/>
                    <a:pt x="540" y="24"/>
                    <a:pt x="540" y="24"/>
                  </a:cubicBezTo>
                  <a:cubicBezTo>
                    <a:pt x="548" y="25"/>
                    <a:pt x="546" y="35"/>
                    <a:pt x="549" y="35"/>
                  </a:cubicBezTo>
                  <a:cubicBezTo>
                    <a:pt x="549" y="35"/>
                    <a:pt x="550" y="34"/>
                    <a:pt x="550" y="34"/>
                  </a:cubicBezTo>
                  <a:cubicBezTo>
                    <a:pt x="551" y="35"/>
                    <a:pt x="551" y="35"/>
                    <a:pt x="551" y="35"/>
                  </a:cubicBezTo>
                  <a:cubicBezTo>
                    <a:pt x="551" y="35"/>
                    <a:pt x="551" y="35"/>
                    <a:pt x="551" y="35"/>
                  </a:cubicBezTo>
                  <a:cubicBezTo>
                    <a:pt x="551" y="35"/>
                    <a:pt x="551" y="35"/>
                    <a:pt x="551" y="35"/>
                  </a:cubicBezTo>
                  <a:cubicBezTo>
                    <a:pt x="550" y="36"/>
                    <a:pt x="549" y="37"/>
                    <a:pt x="547" y="37"/>
                  </a:cubicBezTo>
                  <a:cubicBezTo>
                    <a:pt x="543" y="37"/>
                    <a:pt x="543" y="34"/>
                    <a:pt x="542" y="30"/>
                  </a:cubicBezTo>
                  <a:cubicBezTo>
                    <a:pt x="541" y="27"/>
                    <a:pt x="540" y="25"/>
                    <a:pt x="537" y="25"/>
                  </a:cubicBezTo>
                  <a:cubicBezTo>
                    <a:pt x="534" y="25"/>
                    <a:pt x="534" y="25"/>
                    <a:pt x="534" y="25"/>
                  </a:cubicBezTo>
                  <a:cubicBezTo>
                    <a:pt x="534" y="30"/>
                    <a:pt x="534" y="30"/>
                    <a:pt x="534" y="30"/>
                  </a:cubicBezTo>
                  <a:cubicBezTo>
                    <a:pt x="534" y="35"/>
                    <a:pt x="534" y="35"/>
                    <a:pt x="537" y="35"/>
                  </a:cubicBezTo>
                  <a:cubicBezTo>
                    <a:pt x="538" y="35"/>
                    <a:pt x="538" y="36"/>
                    <a:pt x="538" y="36"/>
                  </a:cubicBezTo>
                  <a:cubicBezTo>
                    <a:pt x="538" y="37"/>
                    <a:pt x="538" y="37"/>
                    <a:pt x="538" y="37"/>
                  </a:cubicBezTo>
                  <a:cubicBezTo>
                    <a:pt x="536" y="37"/>
                    <a:pt x="534" y="37"/>
                    <a:pt x="532" y="37"/>
                  </a:cubicBezTo>
                  <a:cubicBezTo>
                    <a:pt x="530" y="37"/>
                    <a:pt x="528" y="37"/>
                    <a:pt x="527" y="37"/>
                  </a:cubicBezTo>
                  <a:cubicBezTo>
                    <a:pt x="527" y="36"/>
                    <a:pt x="527" y="36"/>
                    <a:pt x="527" y="36"/>
                  </a:cubicBezTo>
                  <a:cubicBezTo>
                    <a:pt x="527" y="36"/>
                    <a:pt x="527" y="35"/>
                    <a:pt x="527" y="35"/>
                  </a:cubicBezTo>
                  <a:cubicBezTo>
                    <a:pt x="530" y="35"/>
                    <a:pt x="530" y="35"/>
                    <a:pt x="530" y="30"/>
                  </a:cubicBezTo>
                  <a:cubicBezTo>
                    <a:pt x="530" y="19"/>
                    <a:pt x="530" y="19"/>
                    <a:pt x="530" y="19"/>
                  </a:cubicBezTo>
                  <a:cubicBezTo>
                    <a:pt x="530" y="14"/>
                    <a:pt x="530" y="14"/>
                    <a:pt x="527" y="14"/>
                  </a:cubicBezTo>
                  <a:cubicBezTo>
                    <a:pt x="527" y="14"/>
                    <a:pt x="527" y="14"/>
                    <a:pt x="527" y="13"/>
                  </a:cubicBezTo>
                  <a:cubicBezTo>
                    <a:pt x="527" y="12"/>
                    <a:pt x="527" y="12"/>
                    <a:pt x="527" y="12"/>
                  </a:cubicBezTo>
                  <a:cubicBezTo>
                    <a:pt x="528" y="12"/>
                    <a:pt x="530" y="12"/>
                    <a:pt x="532" y="12"/>
                  </a:cubicBezTo>
                  <a:cubicBezTo>
                    <a:pt x="534" y="12"/>
                    <a:pt x="536" y="12"/>
                    <a:pt x="538" y="12"/>
                  </a:cubicBezTo>
                  <a:cubicBezTo>
                    <a:pt x="543" y="12"/>
                    <a:pt x="547" y="14"/>
                    <a:pt x="547" y="18"/>
                  </a:cubicBezTo>
                  <a:cubicBezTo>
                    <a:pt x="547" y="21"/>
                    <a:pt x="546" y="23"/>
                    <a:pt x="540" y="24"/>
                  </a:cubicBezTo>
                  <a:close/>
                  <a:moveTo>
                    <a:pt x="538" y="14"/>
                  </a:moveTo>
                  <a:cubicBezTo>
                    <a:pt x="537" y="14"/>
                    <a:pt x="534" y="14"/>
                    <a:pt x="534" y="14"/>
                  </a:cubicBezTo>
                  <a:cubicBezTo>
                    <a:pt x="534" y="23"/>
                    <a:pt x="534" y="23"/>
                    <a:pt x="534" y="23"/>
                  </a:cubicBezTo>
                  <a:cubicBezTo>
                    <a:pt x="537" y="23"/>
                    <a:pt x="537" y="23"/>
                    <a:pt x="537" y="23"/>
                  </a:cubicBezTo>
                  <a:cubicBezTo>
                    <a:pt x="540" y="23"/>
                    <a:pt x="543" y="22"/>
                    <a:pt x="543" y="18"/>
                  </a:cubicBezTo>
                  <a:cubicBezTo>
                    <a:pt x="543" y="15"/>
                    <a:pt x="540" y="14"/>
                    <a:pt x="538" y="14"/>
                  </a:cubicBezTo>
                  <a:close/>
                  <a:moveTo>
                    <a:pt x="563" y="38"/>
                  </a:moveTo>
                  <a:cubicBezTo>
                    <a:pt x="556" y="38"/>
                    <a:pt x="551" y="33"/>
                    <a:pt x="551" y="25"/>
                  </a:cubicBezTo>
                  <a:cubicBezTo>
                    <a:pt x="551" y="16"/>
                    <a:pt x="557" y="11"/>
                    <a:pt x="563" y="11"/>
                  </a:cubicBezTo>
                  <a:cubicBezTo>
                    <a:pt x="570" y="11"/>
                    <a:pt x="575" y="16"/>
                    <a:pt x="575" y="24"/>
                  </a:cubicBezTo>
                  <a:cubicBezTo>
                    <a:pt x="575" y="33"/>
                    <a:pt x="570" y="38"/>
                    <a:pt x="563" y="38"/>
                  </a:cubicBezTo>
                  <a:close/>
                  <a:moveTo>
                    <a:pt x="563" y="14"/>
                  </a:moveTo>
                  <a:cubicBezTo>
                    <a:pt x="558" y="14"/>
                    <a:pt x="556" y="17"/>
                    <a:pt x="556" y="25"/>
                  </a:cubicBezTo>
                  <a:cubicBezTo>
                    <a:pt x="556" y="32"/>
                    <a:pt x="559" y="36"/>
                    <a:pt x="563" y="36"/>
                  </a:cubicBezTo>
                  <a:cubicBezTo>
                    <a:pt x="568" y="36"/>
                    <a:pt x="570" y="32"/>
                    <a:pt x="570" y="24"/>
                  </a:cubicBezTo>
                  <a:cubicBezTo>
                    <a:pt x="570" y="17"/>
                    <a:pt x="567" y="14"/>
                    <a:pt x="563" y="14"/>
                  </a:cubicBezTo>
                  <a:close/>
                  <a:moveTo>
                    <a:pt x="590" y="38"/>
                  </a:moveTo>
                  <a:cubicBezTo>
                    <a:pt x="583" y="38"/>
                    <a:pt x="580" y="35"/>
                    <a:pt x="580" y="28"/>
                  </a:cubicBezTo>
                  <a:cubicBezTo>
                    <a:pt x="580" y="19"/>
                    <a:pt x="580" y="19"/>
                    <a:pt x="580" y="19"/>
                  </a:cubicBezTo>
                  <a:cubicBezTo>
                    <a:pt x="580" y="14"/>
                    <a:pt x="580" y="14"/>
                    <a:pt x="577" y="14"/>
                  </a:cubicBezTo>
                  <a:cubicBezTo>
                    <a:pt x="576" y="14"/>
                    <a:pt x="576" y="14"/>
                    <a:pt x="576" y="13"/>
                  </a:cubicBezTo>
                  <a:cubicBezTo>
                    <a:pt x="576" y="12"/>
                    <a:pt x="576" y="12"/>
                    <a:pt x="576" y="12"/>
                  </a:cubicBezTo>
                  <a:cubicBezTo>
                    <a:pt x="578" y="12"/>
                    <a:pt x="580" y="12"/>
                    <a:pt x="582" y="12"/>
                  </a:cubicBezTo>
                  <a:cubicBezTo>
                    <a:pt x="584" y="12"/>
                    <a:pt x="586" y="12"/>
                    <a:pt x="587" y="12"/>
                  </a:cubicBezTo>
                  <a:cubicBezTo>
                    <a:pt x="587" y="13"/>
                    <a:pt x="587" y="13"/>
                    <a:pt x="587" y="13"/>
                  </a:cubicBezTo>
                  <a:cubicBezTo>
                    <a:pt x="587" y="14"/>
                    <a:pt x="587" y="14"/>
                    <a:pt x="587" y="14"/>
                  </a:cubicBezTo>
                  <a:cubicBezTo>
                    <a:pt x="584" y="14"/>
                    <a:pt x="584" y="14"/>
                    <a:pt x="584" y="19"/>
                  </a:cubicBezTo>
                  <a:cubicBezTo>
                    <a:pt x="584" y="29"/>
                    <a:pt x="584" y="29"/>
                    <a:pt x="584" y="29"/>
                  </a:cubicBezTo>
                  <a:cubicBezTo>
                    <a:pt x="584" y="33"/>
                    <a:pt x="586" y="35"/>
                    <a:pt x="590" y="35"/>
                  </a:cubicBezTo>
                  <a:cubicBezTo>
                    <a:pt x="595" y="35"/>
                    <a:pt x="597" y="33"/>
                    <a:pt x="597" y="28"/>
                  </a:cubicBezTo>
                  <a:cubicBezTo>
                    <a:pt x="597" y="22"/>
                    <a:pt x="597" y="22"/>
                    <a:pt x="597" y="22"/>
                  </a:cubicBezTo>
                  <a:cubicBezTo>
                    <a:pt x="597" y="15"/>
                    <a:pt x="597" y="14"/>
                    <a:pt x="592" y="14"/>
                  </a:cubicBezTo>
                  <a:cubicBezTo>
                    <a:pt x="592" y="14"/>
                    <a:pt x="592" y="14"/>
                    <a:pt x="592" y="13"/>
                  </a:cubicBezTo>
                  <a:cubicBezTo>
                    <a:pt x="592" y="12"/>
                    <a:pt x="592" y="12"/>
                    <a:pt x="592" y="12"/>
                  </a:cubicBezTo>
                  <a:cubicBezTo>
                    <a:pt x="594" y="12"/>
                    <a:pt x="596" y="12"/>
                    <a:pt x="598" y="12"/>
                  </a:cubicBezTo>
                  <a:cubicBezTo>
                    <a:pt x="600" y="12"/>
                    <a:pt x="601" y="12"/>
                    <a:pt x="602" y="12"/>
                  </a:cubicBezTo>
                  <a:cubicBezTo>
                    <a:pt x="602" y="13"/>
                    <a:pt x="602" y="13"/>
                    <a:pt x="602" y="13"/>
                  </a:cubicBezTo>
                  <a:cubicBezTo>
                    <a:pt x="602" y="14"/>
                    <a:pt x="602" y="14"/>
                    <a:pt x="602" y="14"/>
                  </a:cubicBezTo>
                  <a:cubicBezTo>
                    <a:pt x="599" y="14"/>
                    <a:pt x="599" y="15"/>
                    <a:pt x="599" y="22"/>
                  </a:cubicBezTo>
                  <a:cubicBezTo>
                    <a:pt x="599" y="28"/>
                    <a:pt x="599" y="28"/>
                    <a:pt x="599" y="28"/>
                  </a:cubicBezTo>
                  <a:cubicBezTo>
                    <a:pt x="599" y="35"/>
                    <a:pt x="596" y="38"/>
                    <a:pt x="590" y="38"/>
                  </a:cubicBezTo>
                  <a:close/>
                  <a:moveTo>
                    <a:pt x="614" y="27"/>
                  </a:moveTo>
                  <a:cubicBezTo>
                    <a:pt x="612" y="27"/>
                    <a:pt x="612" y="27"/>
                    <a:pt x="612" y="27"/>
                  </a:cubicBezTo>
                  <a:cubicBezTo>
                    <a:pt x="612" y="30"/>
                    <a:pt x="612" y="30"/>
                    <a:pt x="612" y="30"/>
                  </a:cubicBezTo>
                  <a:cubicBezTo>
                    <a:pt x="612" y="35"/>
                    <a:pt x="612" y="35"/>
                    <a:pt x="615" y="35"/>
                  </a:cubicBezTo>
                  <a:cubicBezTo>
                    <a:pt x="616" y="35"/>
                    <a:pt x="616" y="36"/>
                    <a:pt x="616" y="36"/>
                  </a:cubicBezTo>
                  <a:cubicBezTo>
                    <a:pt x="616" y="37"/>
                    <a:pt x="616" y="37"/>
                    <a:pt x="616" y="37"/>
                  </a:cubicBezTo>
                  <a:cubicBezTo>
                    <a:pt x="614" y="37"/>
                    <a:pt x="611" y="37"/>
                    <a:pt x="610" y="37"/>
                  </a:cubicBezTo>
                  <a:cubicBezTo>
                    <a:pt x="608" y="37"/>
                    <a:pt x="606" y="37"/>
                    <a:pt x="604" y="37"/>
                  </a:cubicBezTo>
                  <a:cubicBezTo>
                    <a:pt x="604" y="36"/>
                    <a:pt x="604" y="36"/>
                    <a:pt x="604" y="36"/>
                  </a:cubicBezTo>
                  <a:cubicBezTo>
                    <a:pt x="604" y="36"/>
                    <a:pt x="604" y="35"/>
                    <a:pt x="604" y="35"/>
                  </a:cubicBezTo>
                  <a:cubicBezTo>
                    <a:pt x="607" y="35"/>
                    <a:pt x="607" y="35"/>
                    <a:pt x="607" y="30"/>
                  </a:cubicBezTo>
                  <a:cubicBezTo>
                    <a:pt x="607" y="19"/>
                    <a:pt x="607" y="19"/>
                    <a:pt x="607" y="19"/>
                  </a:cubicBezTo>
                  <a:cubicBezTo>
                    <a:pt x="607" y="14"/>
                    <a:pt x="607" y="14"/>
                    <a:pt x="604" y="14"/>
                  </a:cubicBezTo>
                  <a:cubicBezTo>
                    <a:pt x="604" y="14"/>
                    <a:pt x="604" y="14"/>
                    <a:pt x="604" y="13"/>
                  </a:cubicBezTo>
                  <a:cubicBezTo>
                    <a:pt x="604" y="12"/>
                    <a:pt x="604" y="12"/>
                    <a:pt x="604" y="12"/>
                  </a:cubicBezTo>
                  <a:cubicBezTo>
                    <a:pt x="606" y="12"/>
                    <a:pt x="608" y="12"/>
                    <a:pt x="610" y="12"/>
                  </a:cubicBezTo>
                  <a:cubicBezTo>
                    <a:pt x="611" y="12"/>
                    <a:pt x="613" y="12"/>
                    <a:pt x="614" y="12"/>
                  </a:cubicBezTo>
                  <a:cubicBezTo>
                    <a:pt x="619" y="12"/>
                    <a:pt x="625" y="13"/>
                    <a:pt x="625" y="19"/>
                  </a:cubicBezTo>
                  <a:cubicBezTo>
                    <a:pt x="625" y="22"/>
                    <a:pt x="623" y="27"/>
                    <a:pt x="614" y="27"/>
                  </a:cubicBezTo>
                  <a:close/>
                  <a:moveTo>
                    <a:pt x="615" y="14"/>
                  </a:moveTo>
                  <a:cubicBezTo>
                    <a:pt x="614" y="14"/>
                    <a:pt x="612" y="14"/>
                    <a:pt x="612" y="14"/>
                  </a:cubicBezTo>
                  <a:cubicBezTo>
                    <a:pt x="612" y="25"/>
                    <a:pt x="612" y="25"/>
                    <a:pt x="612" y="25"/>
                  </a:cubicBezTo>
                  <a:cubicBezTo>
                    <a:pt x="614" y="25"/>
                    <a:pt x="614" y="25"/>
                    <a:pt x="614" y="25"/>
                  </a:cubicBezTo>
                  <a:cubicBezTo>
                    <a:pt x="618" y="25"/>
                    <a:pt x="620" y="23"/>
                    <a:pt x="620" y="19"/>
                  </a:cubicBezTo>
                  <a:cubicBezTo>
                    <a:pt x="620" y="16"/>
                    <a:pt x="618" y="14"/>
                    <a:pt x="615"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sym typeface="Trebuchet MS" panose="020B0603020202020204" pitchFamily="34" charset="0"/>
              </a:endParaRPr>
            </a:p>
          </p:txBody>
        </p:sp>
      </p:grpSp>
      <p:sp>
        <p:nvSpPr>
          <p:cNvPr id="26" name="Subtitle 2"/>
          <p:cNvSpPr>
            <a:spLocks noGrp="1"/>
          </p:cNvSpPr>
          <p:nvPr>
            <p:ph type="subTitle" idx="1" hasCustomPrompt="1"/>
          </p:nvPr>
        </p:nvSpPr>
        <p:spPr bwMode="white">
          <a:xfrm>
            <a:off x="957600" y="5495706"/>
            <a:ext cx="6868800" cy="436195"/>
          </a:xfrm>
          <a:prstGeom prst="rect">
            <a:avLst/>
          </a:prstGeom>
        </p:spPr>
        <p:txBody>
          <a:bodyPr anchor="ctr"/>
          <a:lstStyle>
            <a:lvl1pPr marL="0" indent="0" algn="l">
              <a:lnSpc>
                <a:spcPct val="110000"/>
              </a:lnSpc>
              <a:buNone/>
              <a:defRPr sz="1600" baseline="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
        <p:nvSpPr>
          <p:cNvPr id="27" name="Title 1"/>
          <p:cNvSpPr>
            <a:spLocks noGrp="1"/>
          </p:cNvSpPr>
          <p:nvPr>
            <p:ph type="ctrTitle" hasCustomPrompt="1"/>
          </p:nvPr>
        </p:nvSpPr>
        <p:spPr bwMode="ltGray">
          <a:xfrm>
            <a:off x="957600" y="1886242"/>
            <a:ext cx="6868800" cy="3138423"/>
          </a:xfrm>
          <a:prstGeom prst="rect">
            <a:avLst/>
          </a:prstGeom>
        </p:spPr>
        <p:txBody>
          <a:bodyPr anchor="b">
            <a:normAutofit/>
          </a:bodyPr>
          <a:lstStyle>
            <a:lvl1pPr algn="l">
              <a:lnSpc>
                <a:spcPct val="93000"/>
              </a:lnSpc>
              <a:defRPr sz="5400" baseline="0">
                <a:solidFill>
                  <a:schemeClr val="bg1"/>
                </a:solidFill>
                <a:latin typeface="+mj-lt"/>
                <a:sym typeface="Trebuchet MS" panose="020B0603020202020204" pitchFamily="34" charset="0"/>
              </a:defRPr>
            </a:lvl1pPr>
          </a:lstStyle>
          <a:p>
            <a:r>
              <a:rPr lang="en-US" dirty="0"/>
              <a:t>Title in Title Case</a:t>
            </a:r>
          </a:p>
        </p:txBody>
      </p:sp>
    </p:spTree>
    <p:extLst>
      <p:ext uri="{BB962C8B-B14F-4D97-AF65-F5344CB8AC3E}">
        <p14:creationId xmlns:p14="http://schemas.microsoft.com/office/powerpoint/2010/main" val="88847703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2"/>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Slide examples_Killer slides_Final.pptx</a:t>
            </a:r>
            <a:endParaRPr lang="en-US" sz="700" dirty="0">
              <a:solidFill>
                <a:schemeClr val="bg1">
                  <a:lumMod val="50000"/>
                </a:schemeClr>
              </a:solidFill>
              <a:latin typeface="+mn-lt"/>
              <a:sym typeface="Trebuchet MS" panose="020B0603020202020204" pitchFamily="34" charset="0"/>
            </a:endParaRPr>
          </a:p>
        </p:txBody>
      </p:sp>
      <p:sp>
        <p:nvSpPr>
          <p:cNvPr id="5" name="Title 4"/>
          <p:cNvSpPr>
            <a:spLocks noGrp="1"/>
          </p:cNvSpPr>
          <p:nvPr>
            <p:ph type="title" hasCustomPrompt="1"/>
          </p:nvPr>
        </p:nvSpPr>
        <p:spPr>
          <a:xfrm>
            <a:off x="630000" y="622800"/>
            <a:ext cx="109332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Tree>
    <p:extLst>
      <p:ext uri="{BB962C8B-B14F-4D97-AF65-F5344CB8AC3E}">
        <p14:creationId xmlns:p14="http://schemas.microsoft.com/office/powerpoint/2010/main" val="115000034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chemeClr val="bg1"/>
        </a:solidFill>
        <a:effectLst/>
      </p:bgPr>
    </p:bg>
    <p:spTree>
      <p:nvGrpSpPr>
        <p:cNvPr id="1" name=""/>
        <p:cNvGrpSpPr/>
        <p:nvPr/>
      </p:nvGrpSpPr>
      <p:grpSpPr>
        <a:xfrm>
          <a:off x="0" y="0"/>
          <a:ext cx="0" cy="0"/>
          <a:chOff x="0" y="0"/>
          <a:chExt cx="0" cy="0"/>
        </a:xfrm>
      </p:grpSpPr>
      <p:sp>
        <p:nvSpPr>
          <p:cNvPr id="8" name="Rectangle 7"/>
          <p:cNvSpPr/>
          <p:nvPr userDrawn="1"/>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a:solidFill>
                <a:schemeClr val="bg1"/>
              </a:solidFill>
              <a:latin typeface="+mn-lt"/>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9" name="Title 1"/>
          <p:cNvSpPr>
            <a:spLocks noGrp="1"/>
          </p:cNvSpPr>
          <p:nvPr>
            <p:ph type="title" hasCustomPrompt="1"/>
          </p:nvPr>
        </p:nvSpPr>
        <p:spPr bwMode="ltGray">
          <a:xfrm>
            <a:off x="630000" y="1544274"/>
            <a:ext cx="3452400" cy="1495794"/>
          </a:xfrm>
          <a:noFill/>
        </p:spPr>
        <p:txBody>
          <a:bodyPr wrap="square" lIns="0" tIns="0" rIns="320040" bIns="0" anchor="b">
            <a:noAutofit/>
          </a:bodyPr>
          <a:lstStyle>
            <a:lvl1pPr>
              <a:defRPr sz="3200">
                <a:solidFill>
                  <a:schemeClr val="tx2"/>
                </a:solidFill>
                <a:latin typeface="+mj-lt"/>
              </a:defRPr>
            </a:lvl1pPr>
          </a:lstStyle>
          <a:p>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Slide examples_Killer slides_Final.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38540859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bwMode="blackWhite">
          <a:xfrm>
            <a:off x="1284742" y="2668041"/>
            <a:ext cx="9620491" cy="3201026"/>
          </a:xfrm>
          <a:prstGeom prst="rect">
            <a:avLst/>
          </a:prstGeom>
          <a:ln w="9525">
            <a:solidFill>
              <a:schemeClr val="bg1"/>
            </a:solidFill>
          </a:ln>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4" name="TextBox 3"/>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7 by The Boston Consulting Group, Inc. All rights reserved.</a:t>
            </a:r>
          </a:p>
        </p:txBody>
      </p:sp>
      <p:sp>
        <p:nvSpPr>
          <p:cNvPr id="59" name="Rectangle 58"/>
          <p:cNvSpPr/>
          <p:nvPr userDrawn="1"/>
        </p:nvSpPr>
        <p:spPr bwMode="white">
          <a:xfrm>
            <a:off x="1284743" y="1428131"/>
            <a:ext cx="947672"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9"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Slide examples_Killer slides_Final.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58279079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5" name="TextBox 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4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bg1"/>
                </a:solidFill>
                <a:latin typeface="+mj-lt"/>
                <a:sym typeface="Trebuchet MS" panose="020B0603020202020204" pitchFamily="34" charset="0"/>
              </a:defRPr>
            </a:lvl1pPr>
          </a:lstStyle>
          <a:p>
            <a:r>
              <a:rPr lang="en-US" dirty="0"/>
              <a:t>Click to add big statement text</a:t>
            </a:r>
          </a:p>
        </p:txBody>
      </p:sp>
      <p:cxnSp>
        <p:nvCxnSpPr>
          <p:cNvPr id="148" name="Straight Connector 147"/>
          <p:cNvCxnSpPr/>
          <p:nvPr userDrawn="1"/>
        </p:nvCxnSpPr>
        <p:spPr bwMode="white">
          <a:xfrm>
            <a:off x="618898" y="3680016"/>
            <a:ext cx="11576304"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153339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7"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7 by The Boston Consulting Group, Inc. All rights reserved.</a:t>
            </a:r>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6" name="Rectangle 25"/>
          <p:cNvSpPr/>
          <p:nvPr userDrawn="1"/>
        </p:nvSpPr>
        <p:spPr bwMode="white">
          <a:xfrm>
            <a:off x="0" y="0"/>
            <a:ext cx="4079508"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7"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tx2"/>
                </a:solidFill>
                <a:latin typeface="+mj-lt"/>
                <a:sym typeface="Trebuchet MS" panose="020B0603020202020204" pitchFamily="34" charset="0"/>
              </a:defRPr>
            </a:lvl1pPr>
          </a:lstStyle>
          <a:p>
            <a:r>
              <a:rPr lang="en-US" dirty="0"/>
              <a:t>Click to add title</a:t>
            </a: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Slide examples_Killer slides_Final.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9430495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3" name="Rectangle 12"/>
          <p:cNvSpPr/>
          <p:nvPr userDrawn="1"/>
        </p:nvSpPr>
        <p:spPr bwMode="white">
          <a:xfrm>
            <a:off x="0" y="0"/>
            <a:ext cx="7171956"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7 by The Boston Consulting Group, Inc. All rights reserved.</a:t>
            </a:r>
          </a:p>
        </p:txBody>
      </p:sp>
      <p:sp>
        <p:nvSpPr>
          <p:cNvPr id="17" name="TextBox 16"/>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3"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Slide examples_Killer slides_Final.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03302389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1"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bg1"/>
                </a:solidFill>
                <a:latin typeface="+mj-lt"/>
                <a:sym typeface="Trebuchet MS" panose="020B0603020202020204" pitchFamily="34" charset="0"/>
              </a:defRPr>
            </a:lvl1pPr>
          </a:lstStyle>
          <a:p>
            <a:r>
              <a:rPr lang="en-US" dirty="0"/>
              <a:t>Click to add title</a:t>
            </a:r>
          </a:p>
        </p:txBody>
      </p:sp>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12"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Slide examples_Killer slides_Final.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21447947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BAEBF10-28B0-67BB-4F29-6DC449E281B9}"/>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99F07198-6400-D2EA-1051-0F7A43F2F6BD}"/>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6E80B13B-DAAF-5CB2-354F-2BAF66C56FB4}"/>
              </a:ext>
            </a:extLst>
          </p:cNvPr>
          <p:cNvSpPr>
            <a:spLocks noGrp="1"/>
          </p:cNvSpPr>
          <p:nvPr>
            <p:ph type="dt" sz="half" idx="10"/>
          </p:nvPr>
        </p:nvSpPr>
        <p:spPr/>
        <p:txBody>
          <a:bodyPr/>
          <a:lstStyle/>
          <a:p>
            <a:fld id="{DCAFD43A-663F-4A92-A292-D8EDA73F00B6}" type="datetimeFigureOut">
              <a:rPr lang="en-US" smtClean="0"/>
              <a:t>4/4/2023</a:t>
            </a:fld>
            <a:endParaRPr lang="en-US"/>
          </a:p>
        </p:txBody>
      </p:sp>
      <p:sp>
        <p:nvSpPr>
          <p:cNvPr id="5" name="Footer Placeholder 4">
            <a:extLst>
              <a:ext uri="{FF2B5EF4-FFF2-40B4-BE49-F238E27FC236}">
                <a16:creationId xmlns:a16="http://schemas.microsoft.com/office/drawing/2014/main" id="{4385530D-0C32-B858-0ECE-AEB1F6ECC01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4E7C97C9-CC8F-C7AA-3F0A-CAF8F271586D}"/>
              </a:ext>
            </a:extLst>
          </p:cNvPr>
          <p:cNvSpPr>
            <a:spLocks noGrp="1"/>
          </p:cNvSpPr>
          <p:nvPr>
            <p:ph type="sldNum" sz="quarter" idx="12"/>
          </p:nvPr>
        </p:nvSpPr>
        <p:spPr/>
        <p:txBody>
          <a:bodyPr/>
          <a:lstStyle/>
          <a:p>
            <a:fld id="{2EE30602-477F-49EB-9371-72C7D77D4B6F}" type="slidenum">
              <a:rPr lang="en-US" smtClean="0"/>
              <a:t>‹#›</a:t>
            </a:fld>
            <a:endParaRPr lang="en-US"/>
          </a:p>
        </p:txBody>
      </p:sp>
    </p:spTree>
    <p:extLst>
      <p:ext uri="{BB962C8B-B14F-4D97-AF65-F5344CB8AC3E}">
        <p14:creationId xmlns:p14="http://schemas.microsoft.com/office/powerpoint/2010/main" val="2429444996"/>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1" name="Picture 10"/>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2" name="Rectangle 11"/>
          <p:cNvSpPr/>
          <p:nvPr userDrawn="1"/>
        </p:nvSpPr>
        <p:spPr>
          <a:xfrm>
            <a:off x="6096000" y="0"/>
            <a:ext cx="6096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4" name="Title 1"/>
          <p:cNvSpPr>
            <a:spLocks noGrp="1"/>
          </p:cNvSpPr>
          <p:nvPr>
            <p:ph type="title" hasCustomPrompt="1"/>
          </p:nvPr>
        </p:nvSpPr>
        <p:spPr bwMode="black">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2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17"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Slide examples_Killer slides_Final.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5689338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0" name="Rectangle 9"/>
          <p:cNvSpPr/>
          <p:nvPr userDrawn="1"/>
        </p:nvSpPr>
        <p:spPr bwMode="gray">
          <a:xfrm>
            <a:off x="7819543" y="0"/>
            <a:ext cx="437245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1"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2"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5" name="Copyright"/>
          <p:cNvSpPr txBox="1"/>
          <p:nvPr userDrawn="1"/>
        </p:nvSpPr>
        <p:spPr>
          <a:xfrm rot="16200000">
            <a:off x="9486900" y="3916394"/>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14" name="Title 1"/>
          <p:cNvSpPr>
            <a:spLocks noGrp="1"/>
          </p:cNvSpPr>
          <p:nvPr>
            <p:ph type="title" hasCustomPrompt="1"/>
          </p:nvPr>
        </p:nvSpPr>
        <p:spPr bwMode="blackWhite">
          <a:xfrm>
            <a:off x="630000" y="180465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a:t>Click to edit title</a:t>
            </a:r>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Slide examples_Killer slides_Final.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69608236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5"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3108638" y="3594368"/>
            <a:ext cx="1365250" cy="3382962"/>
          </a:xfrm>
          <a:prstGeom prst="rect">
            <a:avLst/>
          </a:prstGeom>
          <a:noFill/>
          <a:extLst>
            <a:ext uri="{909E8E84-426E-40DD-AFC4-6F175D3DCCD1}">
              <a14:hiddenFill xmlns:a14="http://schemas.microsoft.com/office/drawing/2010/main">
                <a:solidFill>
                  <a:srgbClr val="FFFFFF"/>
                </a:solidFill>
              </a14:hiddenFill>
            </a:ext>
          </a:extLst>
        </p:spPr>
      </p:pic>
      <p:sp>
        <p:nvSpPr>
          <p:cNvPr id="16"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5"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7 by The Boston Consulting Group, Inc. All rights reserved.</a:t>
            </a:r>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7" name="Title 2"/>
          <p:cNvSpPr>
            <a:spLocks noGrp="1"/>
          </p:cNvSpPr>
          <p:nvPr>
            <p:ph type="title" hasCustomPrompt="1"/>
          </p:nvPr>
        </p:nvSpPr>
        <p:spPr>
          <a:xfrm>
            <a:off x="630000" y="2764203"/>
            <a:ext cx="2478638" cy="1314311"/>
          </a:xfrm>
          <a:prstGeom prst="rect">
            <a:avLst/>
          </a:prstGeom>
        </p:spPr>
        <p:txBody>
          <a:bodyPr anchor="ctr">
            <a:noAutofit/>
          </a:bodyPr>
          <a:lstStyle>
            <a:lvl1pPr>
              <a:defRPr sz="3200" baseline="0">
                <a:solidFill>
                  <a:schemeClr val="tx2"/>
                </a:solidFill>
                <a:latin typeface="+mj-lt"/>
                <a:sym typeface="Trebuchet MS" panose="020B0603020202020204" pitchFamily="34" charset="0"/>
              </a:defRPr>
            </a:lvl1pPr>
          </a:lstStyle>
          <a:p>
            <a:r>
              <a:rPr lang="en-US" dirty="0">
                <a:solidFill>
                  <a:schemeClr val="tx2"/>
                </a:solidFill>
              </a:rPr>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Slide examples_Killer slides_Final.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3133708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rgbClr val="F2F2F2"/>
        </a:solidFill>
        <a:effectLst/>
      </p:bgPr>
    </p:bg>
    <p:spTree>
      <p:nvGrpSpPr>
        <p:cNvPr id="1" name=""/>
        <p:cNvGrpSpPr/>
        <p:nvPr/>
      </p:nvGrpSpPr>
      <p:grpSpPr>
        <a:xfrm>
          <a:off x="0" y="0"/>
          <a:ext cx="0" cy="0"/>
          <a:chOff x="0" y="0"/>
          <a:chExt cx="0" cy="0"/>
        </a:xfrm>
      </p:grpSpPr>
      <p:sp>
        <p:nvSpPr>
          <p:cNvPr id="16" name="Freeform 14"/>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2764203"/>
            <a:ext cx="2478638" cy="1314311"/>
          </a:xfrm>
        </p:spPr>
        <p:txBody>
          <a:bodyPr anchor="ctr" anchorCtr="0">
            <a:noAutofit/>
          </a:bodyPr>
          <a:lstStyle>
            <a:lvl1pPr>
              <a:defRPr sz="3200" baseline="0">
                <a:solidFill>
                  <a:srgbClr val="FFFFFF"/>
                </a:solidFill>
                <a:latin typeface="+mj-lt"/>
              </a:defRPr>
            </a:lvl1pPr>
          </a:lstStyle>
          <a:p>
            <a:r>
              <a:rPr lang="en-US" dirty="0"/>
              <a:t>Click to add title</a:t>
            </a:r>
          </a:p>
        </p:txBody>
      </p:sp>
      <p:pic>
        <p:nvPicPr>
          <p:cNvPr id="4" name="Picture 3"/>
          <p:cNvPicPr>
            <a:picLocks noChangeAspect="1"/>
          </p:cNvPicPr>
          <p:nvPr userDrawn="1"/>
        </p:nvPicPr>
        <p:blipFill rotWithShape="1">
          <a:blip r:embed="rId3">
            <a:extLst>
              <a:ext uri="{28A0092B-C50C-407E-A947-70E740481C1C}">
                <a14:useLocalDpi xmlns:a14="http://schemas.microsoft.com/office/drawing/2010/main" val="0"/>
              </a:ext>
            </a:extLst>
          </a:blip>
          <a:srcRect t="6216" b="7716"/>
          <a:stretch/>
        </p:blipFill>
        <p:spPr>
          <a:xfrm rot="120000">
            <a:off x="2141308" y="3402828"/>
            <a:ext cx="2694666" cy="3461745"/>
          </a:xfrm>
          <a:prstGeom prst="rect">
            <a:avLst/>
          </a:prstGeom>
        </p:spPr>
      </p:pic>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17"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Slide examples_Killer slides_Final.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6429229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5" name="TextBox 4"/>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solidFill>
              <a:latin typeface="+mn-lt"/>
              <a:ea typeface="+mn-ea"/>
              <a:cs typeface="+mn-cs"/>
              <a:sym typeface="Trebuchet MS" panose="020B0603020202020204" pitchFamily="34" charset="0"/>
            </a:endParaRPr>
          </a:p>
        </p:txBody>
      </p:sp>
      <p:sp>
        <p:nvSpPr>
          <p:cNvPr id="8"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7 by The Boston Consulting Group, Inc. All rights reserved.</a:t>
            </a:r>
          </a:p>
        </p:txBody>
      </p:sp>
      <p:pic>
        <p:nvPicPr>
          <p:cNvPr id="11"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4533900" y="3395662"/>
            <a:ext cx="1298575" cy="3571875"/>
          </a:xfrm>
          <a:prstGeom prst="rect">
            <a:avLst/>
          </a:prstGeom>
          <a:noFill/>
          <a:extLst>
            <a:ext uri="{909E8E84-426E-40DD-AFC4-6F175D3DCCD1}">
              <a14:hiddenFill xmlns:a14="http://schemas.microsoft.com/office/drawing/2010/main">
                <a:solidFill>
                  <a:srgbClr val="FFFFFF"/>
                </a:solidFill>
              </a14:hiddenFill>
            </a:ext>
          </a:extLst>
        </p:spPr>
      </p:pic>
      <p:sp>
        <p:nvSpPr>
          <p:cNvPr id="13" name="Pentagon 3"/>
          <p:cNvSpPr/>
          <p:nvPr userDrawn="1"/>
        </p:nvSpPr>
        <p:spPr bwMode="white">
          <a:xfrm>
            <a:off x="1" y="0"/>
            <a:ext cx="5426920"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Slide examples_Killer slides_Final.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73297913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rgbClr val="F2F2F2"/>
        </a:solidFill>
        <a:effectLst/>
      </p:bgPr>
    </p:bg>
    <p:spTree>
      <p:nvGrpSpPr>
        <p:cNvPr id="1" name=""/>
        <p:cNvGrpSpPr/>
        <p:nvPr/>
      </p:nvGrpSpPr>
      <p:grpSpPr>
        <a:xfrm>
          <a:off x="0" y="0"/>
          <a:ext cx="0" cy="0"/>
          <a:chOff x="0" y="0"/>
          <a:chExt cx="0" cy="0"/>
        </a:xfrm>
      </p:grpSpPr>
      <p:sp>
        <p:nvSpPr>
          <p:cNvPr id="13"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p>
        </p:txBody>
      </p:sp>
      <p:pic>
        <p:nvPicPr>
          <p:cNvPr id="20" name="Picture 19"/>
          <p:cNvPicPr>
            <a:picLocks noChangeAspect="1"/>
          </p:cNvPicPr>
          <p:nvPr userDrawn="1"/>
        </p:nvPicPr>
        <p:blipFill rotWithShape="1">
          <a:blip r:embed="rId3">
            <a:extLst>
              <a:ext uri="{28A0092B-C50C-407E-A947-70E740481C1C}">
                <a14:useLocalDpi xmlns:a14="http://schemas.microsoft.com/office/drawing/2010/main" val="0"/>
              </a:ext>
            </a:extLst>
          </a:blip>
          <a:srcRect t="7562" b="6867"/>
          <a:stretch/>
        </p:blipFill>
        <p:spPr>
          <a:xfrm>
            <a:off x="3549481" y="3416300"/>
            <a:ext cx="2694666" cy="3441700"/>
          </a:xfrm>
          <a:prstGeom prst="rect">
            <a:avLst/>
          </a:prstGeom>
        </p:spPr>
      </p:pic>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1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Slide examples_Killer slides_Final.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03464631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6"/>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8"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7 by The Boston Consulting Group, Inc.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pic>
        <p:nvPicPr>
          <p:cNvPr id="13"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5378758" y="3589606"/>
            <a:ext cx="1365250" cy="3382962"/>
          </a:xfrm>
          <a:prstGeom prst="rect">
            <a:avLst/>
          </a:prstGeom>
          <a:noFill/>
          <a:extLst>
            <a:ext uri="{909E8E84-426E-40DD-AFC4-6F175D3DCCD1}">
              <a14:hiddenFill xmlns:a14="http://schemas.microsoft.com/office/drawing/2010/main">
                <a:solidFill>
                  <a:srgbClr val="FFFFFF"/>
                </a:solidFill>
              </a14:hiddenFill>
            </a:ext>
          </a:extLst>
        </p:spPr>
      </p:pic>
      <p:sp>
        <p:nvSpPr>
          <p:cNvPr id="14" name="Pentagon 8"/>
          <p:cNvSpPr/>
          <p:nvPr userDrawn="1"/>
        </p:nvSpPr>
        <p:spPr bwMode="white">
          <a:xfrm>
            <a:off x="0" y="0"/>
            <a:ext cx="6363546"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Slide examples_Killer slides_Final.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85694535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2F2F2"/>
        </a:solidFill>
        <a:effectLst/>
      </p:bgPr>
    </p:bg>
    <p:spTree>
      <p:nvGrpSpPr>
        <p:cNvPr id="1" name=""/>
        <p:cNvGrpSpPr/>
        <p:nvPr/>
      </p:nvGrpSpPr>
      <p:grpSpPr>
        <a:xfrm>
          <a:off x="0" y="0"/>
          <a:ext cx="0" cy="0"/>
          <a:chOff x="0" y="0"/>
          <a:chExt cx="0" cy="0"/>
        </a:xfrm>
      </p:grpSpPr>
      <p:sp>
        <p:nvSpPr>
          <p:cNvPr id="14" name="Pentagon 8"/>
          <p:cNvSpPr/>
          <p:nvPr userDrawn="1"/>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p>
        </p:txBody>
      </p:sp>
      <p:pic>
        <p:nvPicPr>
          <p:cNvPr id="17" name="Picture 16"/>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4428422" y="3407803"/>
            <a:ext cx="2694666" cy="3456551"/>
          </a:xfrm>
          <a:prstGeom prst="rect">
            <a:avLst/>
          </a:prstGeom>
        </p:spPr>
      </p:pic>
      <p:sp>
        <p:nvSpPr>
          <p:cNvPr id="12"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2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Slide examples_Killer slides_Final.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67994733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490341" y="3589606"/>
            <a:ext cx="1365250" cy="3382962"/>
          </a:xfrm>
          <a:prstGeom prst="rect">
            <a:avLst/>
          </a:prstGeom>
          <a:noFill/>
          <a:extLst>
            <a:ext uri="{909E8E84-426E-40DD-AFC4-6F175D3DCCD1}">
              <a14:hiddenFill xmlns:a14="http://schemas.microsoft.com/office/drawing/2010/main">
                <a:solidFill>
                  <a:srgbClr val="FFFFFF"/>
                </a:solidFill>
              </a14:hiddenFill>
            </a:ext>
          </a:extLst>
        </p:spPr>
      </p:pic>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7 by The Boston Consulting Group, Inc.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Slide examples_Killer slides_Final.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30142238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rgbClr val="F2F2F2"/>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2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Slide examples_Killer slides_Final.pptx</a:t>
            </a:r>
            <a:endParaRPr lang="en-US" sz="700" dirty="0">
              <a:solidFill>
                <a:schemeClr val="bg1">
                  <a:lumMod val="50000"/>
                </a:schemeClr>
              </a:solidFill>
              <a:latin typeface="+mn-lt"/>
              <a:sym typeface="Trebuchet MS" panose="020B0603020202020204" pitchFamily="34" charset="0"/>
            </a:endParaRPr>
          </a:p>
        </p:txBody>
      </p:sp>
      <p:pic>
        <p:nvPicPr>
          <p:cNvPr id="13" name="Picture 12"/>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6524770" y="3407803"/>
            <a:ext cx="2694666" cy="3456551"/>
          </a:xfrm>
          <a:prstGeom prst="rect">
            <a:avLst/>
          </a:prstGeom>
        </p:spPr>
      </p:pic>
    </p:spTree>
    <p:extLst>
      <p:ext uri="{BB962C8B-B14F-4D97-AF65-F5344CB8AC3E}">
        <p14:creationId xmlns:p14="http://schemas.microsoft.com/office/powerpoint/2010/main" val="366039681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80D203-6027-9C93-E290-603F22516DF7}"/>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14C89A7B-7698-26C1-5067-592FC3CE29A7}"/>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BD2AA8DD-7061-3FC1-4677-C02222ED6D3A}"/>
              </a:ext>
            </a:extLst>
          </p:cNvPr>
          <p:cNvSpPr>
            <a:spLocks noGrp="1"/>
          </p:cNvSpPr>
          <p:nvPr>
            <p:ph type="dt" sz="half" idx="10"/>
          </p:nvPr>
        </p:nvSpPr>
        <p:spPr/>
        <p:txBody>
          <a:bodyPr/>
          <a:lstStyle/>
          <a:p>
            <a:fld id="{DCAFD43A-663F-4A92-A292-D8EDA73F00B6}" type="datetimeFigureOut">
              <a:rPr lang="en-US" smtClean="0"/>
              <a:t>4/4/2023</a:t>
            </a:fld>
            <a:endParaRPr lang="en-US"/>
          </a:p>
        </p:txBody>
      </p:sp>
      <p:sp>
        <p:nvSpPr>
          <p:cNvPr id="5" name="Footer Placeholder 4">
            <a:extLst>
              <a:ext uri="{FF2B5EF4-FFF2-40B4-BE49-F238E27FC236}">
                <a16:creationId xmlns:a16="http://schemas.microsoft.com/office/drawing/2014/main" id="{8F085816-0A2B-3EC6-CD21-2B83EA410C5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9110EA7-C512-37DA-EE2F-E564A7CEED3F}"/>
              </a:ext>
            </a:extLst>
          </p:cNvPr>
          <p:cNvSpPr>
            <a:spLocks noGrp="1"/>
          </p:cNvSpPr>
          <p:nvPr>
            <p:ph type="sldNum" sz="quarter" idx="12"/>
          </p:nvPr>
        </p:nvSpPr>
        <p:spPr/>
        <p:txBody>
          <a:bodyPr/>
          <a:lstStyle/>
          <a:p>
            <a:fld id="{2EE30602-477F-49EB-9371-72C7D77D4B6F}" type="slidenum">
              <a:rPr lang="en-US" smtClean="0"/>
              <a:t>‹#›</a:t>
            </a:fld>
            <a:endParaRPr lang="en-US"/>
          </a:p>
        </p:txBody>
      </p:sp>
    </p:spTree>
    <p:extLst>
      <p:ext uri="{BB962C8B-B14F-4D97-AF65-F5344CB8AC3E}">
        <p14:creationId xmlns:p14="http://schemas.microsoft.com/office/powerpoint/2010/main" val="1956241819"/>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3" name="TextBox 2"/>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7 by The Boston Consulting Group, Inc. All rights reserved.</a:t>
            </a:r>
          </a:p>
        </p:txBody>
      </p:sp>
      <p:sp>
        <p:nvSpPr>
          <p:cNvPr id="8"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Slide examples_Killer slides_Final.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8560264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Big statement icon">
    <p:bg>
      <p:bgPr>
        <a:solidFill>
          <a:schemeClr val="bg1">
            <a:lumMod val="95000"/>
          </a:schemeClr>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Slide examples_Killer slides_Final.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8775501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chemeClr val="accent1"/>
        </a:solidFill>
        <a:effectLst/>
      </p:bgPr>
    </p:bg>
    <p:spTree>
      <p:nvGrpSpPr>
        <p:cNvPr id="1" name=""/>
        <p:cNvGrpSpPr/>
        <p:nvPr/>
      </p:nvGrpSpPr>
      <p:grpSpPr>
        <a:xfrm>
          <a:off x="0" y="0"/>
          <a:ext cx="0" cy="0"/>
          <a:chOff x="0" y="0"/>
          <a:chExt cx="0" cy="0"/>
        </a:xfrm>
      </p:grpSpPr>
      <p:pic>
        <p:nvPicPr>
          <p:cNvPr id="11" name="Picture 10"/>
          <p:cNvPicPr>
            <a:picLocks noChangeAspect="1"/>
          </p:cNvPicPr>
          <p:nvPr/>
        </p:nvPicPr>
        <p:blipFill rotWithShape="1">
          <a:blip r:embed="rId2">
            <a:extLst>
              <a:ext uri="{28A0092B-C50C-407E-A947-70E740481C1C}">
                <a14:useLocalDpi xmlns:a14="http://schemas.microsoft.com/office/drawing/2010/main" val="0"/>
              </a:ext>
            </a:extLst>
          </a:blip>
          <a:srcRect r="3634" b="1258"/>
          <a:stretch/>
        </p:blipFill>
        <p:spPr>
          <a:xfrm rot="16200000" flipH="1">
            <a:off x="6797461" y="110968"/>
            <a:ext cx="769257" cy="10019821"/>
          </a:xfrm>
          <a:prstGeom prst="rect">
            <a:avLst/>
          </a:pr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sym typeface="Trebuchet MS" panose="020B0603020202020204" pitchFamily="34" charset="0"/>
            </a:endParaRPr>
          </a:p>
        </p:txBody>
      </p:sp>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8521003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4"/>
          </p:nvPr>
        </p:nvSpPr>
        <p:spPr bwMode="white">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7 by The Boston Consulting Group, Inc. All rights reserved.</a:t>
            </a:r>
          </a:p>
        </p:txBody>
      </p:sp>
      <p:sp>
        <p:nvSpPr>
          <p:cNvPr id="4" name="Title 3"/>
          <p:cNvSpPr>
            <a:spLocks noGrp="1"/>
          </p:cNvSpPr>
          <p:nvPr>
            <p:ph type="title" hasCustomPrompt="1"/>
          </p:nvPr>
        </p:nvSpPr>
        <p:spPr>
          <a:xfrm>
            <a:off x="630000" y="622800"/>
            <a:ext cx="10933200" cy="470898"/>
          </a:xfrm>
        </p:spPr>
        <p:txBody>
          <a:bodyPr/>
          <a:lstStyle>
            <a:lvl1pPr>
              <a:defRPr sz="3400">
                <a:solidFill>
                  <a:schemeClr val="bg1"/>
                </a:solidFill>
                <a:latin typeface="+mj-lt"/>
                <a:sym typeface="Trebuchet MS" panose="020B0603020202020204" pitchFamily="34" charset="0"/>
              </a:defRPr>
            </a:lvl1pPr>
          </a:lstStyle>
          <a:p>
            <a:r>
              <a:rPr lang="en-US" dirty="0"/>
              <a:t>Click to add title</a:t>
            </a: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Slide examples_Killer slides_Final.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45184083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2"/>
        </a:solidFill>
        <a:effectLst/>
      </p:bgPr>
    </p:bg>
    <p:spTree>
      <p:nvGrpSpPr>
        <p:cNvPr id="1" name=""/>
        <p:cNvGrpSpPr/>
        <p:nvPr/>
      </p:nvGrpSpPr>
      <p:grpSpPr>
        <a:xfrm>
          <a:off x="0" y="0"/>
          <a:ext cx="0" cy="0"/>
          <a:chOff x="0" y="0"/>
          <a:chExt cx="0" cy="0"/>
        </a:xfrm>
      </p:grpSpPr>
      <p:sp>
        <p:nvSpPr>
          <p:cNvPr id="5" name="Date Placeholder 4"/>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Slide examples_Killer slides_Final.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74124464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2"/>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7 by The Boston Consulting Group, Inc. All rights reserved.</a:t>
            </a: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Slide examples_Killer slides_Final.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9732201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Disclaimer">
    <p:bg>
      <p:bgPr>
        <a:solidFill>
          <a:schemeClr val="bg2"/>
        </a:solidFill>
        <a:effectLst/>
      </p:bgPr>
    </p:bg>
    <p:spTree>
      <p:nvGrpSpPr>
        <p:cNvPr id="1" name=""/>
        <p:cNvGrpSpPr/>
        <p:nvPr/>
      </p:nvGrpSpPr>
      <p:grpSpPr>
        <a:xfrm>
          <a:off x="0" y="0"/>
          <a:ext cx="0" cy="0"/>
          <a:chOff x="0" y="0"/>
          <a:chExt cx="0" cy="0"/>
        </a:xfrm>
      </p:grpSpPr>
      <p:sp>
        <p:nvSpPr>
          <p:cNvPr id="6" name="Rectangle 5"/>
          <p:cNvSpPr/>
          <p:nvPr/>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dirty="0">
                <a:latin typeface="+mn-lt"/>
                <a:sym typeface="Trebuchet MS" panose="020B0603020202020204" pitchFamily="34" charset="0"/>
              </a:rPr>
              <a:t>The services and materials provided by The Boston Consulting Group (BCG) are subject to BCG's Standard Terms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to update these materials after the date hereof, notwithstanding that such information may become outdat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inaccurate.</a:t>
            </a:r>
          </a:p>
          <a:p>
            <a:pPr indent="0">
              <a:lnSpc>
                <a:spcPct val="100000"/>
              </a:lnSpc>
            </a:pPr>
            <a:r>
              <a:rPr lang="en-US" sz="900" b="0" dirty="0">
                <a:latin typeface="+mn-lt"/>
                <a:sym typeface="Trebuchet MS" panose="020B0603020202020204" pitchFamily="34" charset="0"/>
              </a:rPr>
              <a:t> </a:t>
            </a:r>
          </a:p>
          <a:p>
            <a:pPr indent="0">
              <a:lnSpc>
                <a:spcPct val="100000"/>
              </a:lnSpc>
            </a:pPr>
            <a:r>
              <a:rPr lang="en-US" sz="900" b="0" dirty="0">
                <a:latin typeface="+mn-lt"/>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of this document shall be deemed agreement with and consideration for the foregoing.</a:t>
            </a:r>
          </a:p>
          <a:p>
            <a:pPr indent="0">
              <a:lnSpc>
                <a:spcPct val="100000"/>
              </a:lnSpc>
            </a:pPr>
            <a:endParaRPr lang="en-US" sz="900" b="0" dirty="0">
              <a:latin typeface="+mn-lt"/>
              <a:sym typeface="Trebuchet MS" panose="020B0603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dirty="0">
                <a:latin typeface="+mn-lt"/>
                <a:sym typeface="Trebuchet MS" panose="020B0603020202020204" pitchFamily="34" charset="0"/>
              </a:rPr>
              <a:t>BCG does not provide fairness opinions or valuations of market transactions, and these materials should not be relied 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dirty="0">
                <a:gradFill>
                  <a:gsLst>
                    <a:gs pos="100000">
                      <a:schemeClr val="tx2"/>
                    </a:gs>
                    <a:gs pos="2000">
                      <a:schemeClr val="accent2"/>
                    </a:gs>
                  </a:gsLst>
                  <a:lin ang="2700000" scaled="0"/>
                </a:gradFill>
                <a:latin typeface="+mn-lt"/>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2" name="Date Placeholder 1"/>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Slide examples_Killer slides_Final.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6152628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type="blank" preserve="1">
  <p:cSld name="End">
    <p:spTree>
      <p:nvGrpSpPr>
        <p:cNvPr id="1" name=""/>
        <p:cNvGrpSpPr/>
        <p:nvPr/>
      </p:nvGrpSpPr>
      <p:grpSpPr>
        <a:xfrm>
          <a:off x="0" y="0"/>
          <a:ext cx="0" cy="0"/>
          <a:chOff x="0" y="0"/>
          <a:chExt cx="0" cy="0"/>
        </a:xfrm>
      </p:grpSpPr>
      <p:pic>
        <p:nvPicPr>
          <p:cNvPr id="9" name="TitleAndEndImages"/>
          <p:cNvPicPr>
            <a:picLocks noChangeAspect="1"/>
          </p:cNvPicPr>
          <p:nvPr userDrawn="1">
            <p:custDataLst>
              <p:tags r:id="rId1"/>
            </p:custDataLst>
          </p:nvPr>
        </p:nvPicPr>
        <p:blipFill>
          <a:blip r:embed="rId3">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11" name="Rectangle 10"/>
          <p:cNvSpPr/>
          <p:nvPr/>
        </p:nvSpPr>
        <p:spPr bwMode="black">
          <a:xfrm>
            <a:off x="626289" y="626321"/>
            <a:ext cx="5610517" cy="5532504"/>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grpSp>
        <p:nvGrpSpPr>
          <p:cNvPr id="12" name="Group 4"/>
          <p:cNvGrpSpPr>
            <a:grpSpLocks noChangeAspect="1"/>
          </p:cNvGrpSpPr>
          <p:nvPr userDrawn="1"/>
        </p:nvGrpSpPr>
        <p:grpSpPr bwMode="auto">
          <a:xfrm>
            <a:off x="926090" y="2722052"/>
            <a:ext cx="4371144" cy="1344304"/>
            <a:chOff x="585" y="2014"/>
            <a:chExt cx="5583" cy="1717"/>
          </a:xfrm>
          <a:solidFill>
            <a:schemeClr val="bg1"/>
          </a:solidFill>
        </p:grpSpPr>
        <p:sp>
          <p:nvSpPr>
            <p:cNvPr id="13" name="Freeform 5"/>
            <p:cNvSpPr>
              <a:spLocks noEditPoints="1"/>
            </p:cNvSpPr>
            <p:nvPr/>
          </p:nvSpPr>
          <p:spPr bwMode="auto">
            <a:xfrm>
              <a:off x="585" y="2014"/>
              <a:ext cx="2558" cy="1055"/>
            </a:xfrm>
            <a:custGeom>
              <a:avLst/>
              <a:gdLst>
                <a:gd name="T0" fmla="*/ 123 w 1081"/>
                <a:gd name="T1" fmla="*/ 32 h 445"/>
                <a:gd name="T2" fmla="*/ 171 w 1081"/>
                <a:gd name="T3" fmla="*/ 25 h 445"/>
                <a:gd name="T4" fmla="*/ 150 w 1081"/>
                <a:gd name="T5" fmla="*/ 204 h 445"/>
                <a:gd name="T6" fmla="*/ 189 w 1081"/>
                <a:gd name="T7" fmla="*/ 420 h 445"/>
                <a:gd name="T8" fmla="*/ 123 w 1081"/>
                <a:gd name="T9" fmla="*/ 219 h 445"/>
                <a:gd name="T10" fmla="*/ 293 w 1081"/>
                <a:gd name="T11" fmla="*/ 318 h 445"/>
                <a:gd name="T12" fmla="*/ 905 w 1081"/>
                <a:gd name="T13" fmla="*/ 248 h 445"/>
                <a:gd name="T14" fmla="*/ 910 w 1081"/>
                <a:gd name="T15" fmla="*/ 260 h 445"/>
                <a:gd name="T16" fmla="*/ 974 w 1081"/>
                <a:gd name="T17" fmla="*/ 360 h 445"/>
                <a:gd name="T18" fmla="*/ 756 w 1081"/>
                <a:gd name="T19" fmla="*/ 226 h 445"/>
                <a:gd name="T20" fmla="*/ 1000 w 1081"/>
                <a:gd name="T21" fmla="*/ 127 h 445"/>
                <a:gd name="T22" fmla="*/ 1011 w 1081"/>
                <a:gd name="T23" fmla="*/ 132 h 445"/>
                <a:gd name="T24" fmla="*/ 1006 w 1081"/>
                <a:gd name="T25" fmla="*/ 4 h 445"/>
                <a:gd name="T26" fmla="*/ 994 w 1081"/>
                <a:gd name="T27" fmla="*/ 39 h 445"/>
                <a:gd name="T28" fmla="*/ 882 w 1081"/>
                <a:gd name="T29" fmla="*/ 0 h 445"/>
                <a:gd name="T30" fmla="*/ 686 w 1081"/>
                <a:gd name="T31" fmla="*/ 286 h 445"/>
                <a:gd name="T32" fmla="*/ 563 w 1081"/>
                <a:gd name="T33" fmla="*/ 429 h 445"/>
                <a:gd name="T34" fmla="*/ 554 w 1081"/>
                <a:gd name="T35" fmla="*/ 16 h 445"/>
                <a:gd name="T36" fmla="*/ 667 w 1081"/>
                <a:gd name="T37" fmla="*/ 109 h 445"/>
                <a:gd name="T38" fmla="*/ 672 w 1081"/>
                <a:gd name="T39" fmla="*/ 4 h 445"/>
                <a:gd name="T40" fmla="*/ 661 w 1081"/>
                <a:gd name="T41" fmla="*/ 7 h 445"/>
                <a:gd name="T42" fmla="*/ 655 w 1081"/>
                <a:gd name="T43" fmla="*/ 38 h 445"/>
                <a:gd name="T44" fmla="*/ 348 w 1081"/>
                <a:gd name="T45" fmla="*/ 227 h 445"/>
                <a:gd name="T46" fmla="*/ 349 w 1081"/>
                <a:gd name="T47" fmla="*/ 261 h 445"/>
                <a:gd name="T48" fmla="*/ 220 w 1081"/>
                <a:gd name="T49" fmla="*/ 206 h 445"/>
                <a:gd name="T50" fmla="*/ 168 w 1081"/>
                <a:gd name="T51" fmla="*/ 8 h 445"/>
                <a:gd name="T52" fmla="*/ 0 w 1081"/>
                <a:gd name="T53" fmla="*/ 8 h 445"/>
                <a:gd name="T54" fmla="*/ 4 w 1081"/>
                <a:gd name="T55" fmla="*/ 21 h 445"/>
                <a:gd name="T56" fmla="*/ 55 w 1081"/>
                <a:gd name="T57" fmla="*/ 336 h 445"/>
                <a:gd name="T58" fmla="*/ 0 w 1081"/>
                <a:gd name="T59" fmla="*/ 430 h 445"/>
                <a:gd name="T60" fmla="*/ 88 w 1081"/>
                <a:gd name="T61" fmla="*/ 435 h 445"/>
                <a:gd name="T62" fmla="*/ 366 w 1081"/>
                <a:gd name="T63" fmla="*/ 323 h 445"/>
                <a:gd name="T64" fmla="*/ 561 w 1081"/>
                <a:gd name="T65" fmla="*/ 445 h 445"/>
                <a:gd name="T66" fmla="*/ 679 w 1081"/>
                <a:gd name="T67" fmla="*/ 405 h 445"/>
                <a:gd name="T68" fmla="*/ 691 w 1081"/>
                <a:gd name="T69" fmla="*/ 441 h 445"/>
                <a:gd name="T70" fmla="*/ 696 w 1081"/>
                <a:gd name="T71" fmla="*/ 321 h 445"/>
                <a:gd name="T72" fmla="*/ 886 w 1081"/>
                <a:gd name="T73" fmla="*/ 445 h 445"/>
                <a:gd name="T74" fmla="*/ 1041 w 1081"/>
                <a:gd name="T75" fmla="*/ 387 h 445"/>
                <a:gd name="T76" fmla="*/ 1040 w 1081"/>
                <a:gd name="T77" fmla="*/ 323 h 445"/>
                <a:gd name="T78" fmla="*/ 1081 w 1081"/>
                <a:gd name="T79" fmla="*/ 255 h 445"/>
                <a:gd name="T80" fmla="*/ 1002 w 1081"/>
                <a:gd name="T81" fmla="*/ 249 h 4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081" h="445">
                  <a:moveTo>
                    <a:pt x="123" y="204"/>
                  </a:moveTo>
                  <a:cubicBezTo>
                    <a:pt x="123" y="32"/>
                    <a:pt x="123" y="32"/>
                    <a:pt x="123" y="32"/>
                  </a:cubicBezTo>
                  <a:cubicBezTo>
                    <a:pt x="123" y="28"/>
                    <a:pt x="124" y="27"/>
                    <a:pt x="130" y="26"/>
                  </a:cubicBezTo>
                  <a:cubicBezTo>
                    <a:pt x="139" y="25"/>
                    <a:pt x="161" y="25"/>
                    <a:pt x="171" y="25"/>
                  </a:cubicBezTo>
                  <a:cubicBezTo>
                    <a:pt x="223" y="25"/>
                    <a:pt x="257" y="56"/>
                    <a:pt x="257" y="115"/>
                  </a:cubicBezTo>
                  <a:cubicBezTo>
                    <a:pt x="257" y="180"/>
                    <a:pt x="217" y="204"/>
                    <a:pt x="150" y="204"/>
                  </a:cubicBezTo>
                  <a:lnTo>
                    <a:pt x="123" y="204"/>
                  </a:lnTo>
                  <a:close/>
                  <a:moveTo>
                    <a:pt x="189" y="420"/>
                  </a:moveTo>
                  <a:cubicBezTo>
                    <a:pt x="132" y="420"/>
                    <a:pt x="123" y="411"/>
                    <a:pt x="123" y="332"/>
                  </a:cubicBezTo>
                  <a:cubicBezTo>
                    <a:pt x="123" y="219"/>
                    <a:pt x="123" y="219"/>
                    <a:pt x="123" y="219"/>
                  </a:cubicBezTo>
                  <a:cubicBezTo>
                    <a:pt x="149" y="219"/>
                    <a:pt x="149" y="219"/>
                    <a:pt x="149" y="219"/>
                  </a:cubicBezTo>
                  <a:cubicBezTo>
                    <a:pt x="224" y="219"/>
                    <a:pt x="293" y="237"/>
                    <a:pt x="293" y="318"/>
                  </a:cubicBezTo>
                  <a:cubicBezTo>
                    <a:pt x="293" y="382"/>
                    <a:pt x="255" y="420"/>
                    <a:pt x="189" y="420"/>
                  </a:cubicBezTo>
                  <a:close/>
                  <a:moveTo>
                    <a:pt x="905" y="248"/>
                  </a:moveTo>
                  <a:cubicBezTo>
                    <a:pt x="905" y="255"/>
                    <a:pt x="905" y="255"/>
                    <a:pt x="905" y="255"/>
                  </a:cubicBezTo>
                  <a:cubicBezTo>
                    <a:pt x="905" y="258"/>
                    <a:pt x="906" y="260"/>
                    <a:pt x="910" y="260"/>
                  </a:cubicBezTo>
                  <a:cubicBezTo>
                    <a:pt x="974" y="262"/>
                    <a:pt x="974" y="269"/>
                    <a:pt x="974" y="319"/>
                  </a:cubicBezTo>
                  <a:cubicBezTo>
                    <a:pt x="974" y="360"/>
                    <a:pt x="974" y="360"/>
                    <a:pt x="974" y="360"/>
                  </a:cubicBezTo>
                  <a:cubicBezTo>
                    <a:pt x="974" y="402"/>
                    <a:pt x="946" y="429"/>
                    <a:pt x="890" y="429"/>
                  </a:cubicBezTo>
                  <a:cubicBezTo>
                    <a:pt x="796" y="429"/>
                    <a:pt x="756" y="339"/>
                    <a:pt x="756" y="226"/>
                  </a:cubicBezTo>
                  <a:cubicBezTo>
                    <a:pt x="756" y="119"/>
                    <a:pt x="785" y="16"/>
                    <a:pt x="888" y="16"/>
                  </a:cubicBezTo>
                  <a:cubicBezTo>
                    <a:pt x="947" y="16"/>
                    <a:pt x="996" y="56"/>
                    <a:pt x="1000" y="127"/>
                  </a:cubicBezTo>
                  <a:cubicBezTo>
                    <a:pt x="1000" y="132"/>
                    <a:pt x="1002" y="132"/>
                    <a:pt x="1005" y="132"/>
                  </a:cubicBezTo>
                  <a:cubicBezTo>
                    <a:pt x="1011" y="132"/>
                    <a:pt x="1011" y="132"/>
                    <a:pt x="1011" y="132"/>
                  </a:cubicBezTo>
                  <a:cubicBezTo>
                    <a:pt x="1011" y="103"/>
                    <a:pt x="1010" y="34"/>
                    <a:pt x="1010" y="4"/>
                  </a:cubicBezTo>
                  <a:cubicBezTo>
                    <a:pt x="1006" y="4"/>
                    <a:pt x="1006" y="4"/>
                    <a:pt x="1006" y="4"/>
                  </a:cubicBezTo>
                  <a:cubicBezTo>
                    <a:pt x="1002" y="4"/>
                    <a:pt x="1000" y="5"/>
                    <a:pt x="1000" y="7"/>
                  </a:cubicBezTo>
                  <a:cubicBezTo>
                    <a:pt x="994" y="39"/>
                    <a:pt x="994" y="39"/>
                    <a:pt x="994" y="39"/>
                  </a:cubicBezTo>
                  <a:cubicBezTo>
                    <a:pt x="993" y="39"/>
                    <a:pt x="993" y="39"/>
                    <a:pt x="993" y="39"/>
                  </a:cubicBezTo>
                  <a:cubicBezTo>
                    <a:pt x="964" y="12"/>
                    <a:pt x="921" y="0"/>
                    <a:pt x="882" y="0"/>
                  </a:cubicBezTo>
                  <a:cubicBezTo>
                    <a:pt x="760" y="0"/>
                    <a:pt x="680" y="103"/>
                    <a:pt x="680" y="227"/>
                  </a:cubicBezTo>
                  <a:cubicBezTo>
                    <a:pt x="680" y="248"/>
                    <a:pt x="682" y="268"/>
                    <a:pt x="686" y="286"/>
                  </a:cubicBezTo>
                  <a:cubicBezTo>
                    <a:pt x="685" y="304"/>
                    <a:pt x="685" y="304"/>
                    <a:pt x="685" y="304"/>
                  </a:cubicBezTo>
                  <a:cubicBezTo>
                    <a:pt x="678" y="399"/>
                    <a:pt x="622" y="429"/>
                    <a:pt x="563" y="429"/>
                  </a:cubicBezTo>
                  <a:cubicBezTo>
                    <a:pt x="469" y="429"/>
                    <a:pt x="424" y="343"/>
                    <a:pt x="424" y="226"/>
                  </a:cubicBezTo>
                  <a:cubicBezTo>
                    <a:pt x="424" y="119"/>
                    <a:pt x="451" y="16"/>
                    <a:pt x="554" y="16"/>
                  </a:cubicBezTo>
                  <a:cubicBezTo>
                    <a:pt x="606" y="16"/>
                    <a:pt x="651" y="49"/>
                    <a:pt x="661" y="104"/>
                  </a:cubicBezTo>
                  <a:cubicBezTo>
                    <a:pt x="662" y="109"/>
                    <a:pt x="663" y="109"/>
                    <a:pt x="667" y="109"/>
                  </a:cubicBezTo>
                  <a:cubicBezTo>
                    <a:pt x="673" y="109"/>
                    <a:pt x="673" y="109"/>
                    <a:pt x="673" y="109"/>
                  </a:cubicBezTo>
                  <a:cubicBezTo>
                    <a:pt x="672" y="80"/>
                    <a:pt x="672" y="34"/>
                    <a:pt x="672" y="4"/>
                  </a:cubicBezTo>
                  <a:cubicBezTo>
                    <a:pt x="668" y="4"/>
                    <a:pt x="668" y="4"/>
                    <a:pt x="668" y="4"/>
                  </a:cubicBezTo>
                  <a:cubicBezTo>
                    <a:pt x="663" y="4"/>
                    <a:pt x="662" y="5"/>
                    <a:pt x="661" y="7"/>
                  </a:cubicBezTo>
                  <a:cubicBezTo>
                    <a:pt x="655" y="38"/>
                    <a:pt x="655" y="38"/>
                    <a:pt x="655" y="38"/>
                  </a:cubicBezTo>
                  <a:cubicBezTo>
                    <a:pt x="655" y="38"/>
                    <a:pt x="655" y="38"/>
                    <a:pt x="655" y="38"/>
                  </a:cubicBezTo>
                  <a:cubicBezTo>
                    <a:pt x="626" y="12"/>
                    <a:pt x="585" y="0"/>
                    <a:pt x="546" y="0"/>
                  </a:cubicBezTo>
                  <a:cubicBezTo>
                    <a:pt x="427" y="0"/>
                    <a:pt x="348" y="103"/>
                    <a:pt x="348" y="227"/>
                  </a:cubicBezTo>
                  <a:cubicBezTo>
                    <a:pt x="348" y="239"/>
                    <a:pt x="349" y="250"/>
                    <a:pt x="351" y="261"/>
                  </a:cubicBezTo>
                  <a:cubicBezTo>
                    <a:pt x="349" y="261"/>
                    <a:pt x="349" y="261"/>
                    <a:pt x="349" y="261"/>
                  </a:cubicBezTo>
                  <a:cubicBezTo>
                    <a:pt x="325" y="227"/>
                    <a:pt x="278" y="210"/>
                    <a:pt x="220" y="207"/>
                  </a:cubicBezTo>
                  <a:cubicBezTo>
                    <a:pt x="220" y="206"/>
                    <a:pt x="220" y="206"/>
                    <a:pt x="220" y="206"/>
                  </a:cubicBezTo>
                  <a:cubicBezTo>
                    <a:pt x="283" y="194"/>
                    <a:pt x="325" y="162"/>
                    <a:pt x="325" y="109"/>
                  </a:cubicBezTo>
                  <a:cubicBezTo>
                    <a:pt x="325" y="29"/>
                    <a:pt x="238" y="8"/>
                    <a:pt x="168" y="8"/>
                  </a:cubicBezTo>
                  <a:cubicBezTo>
                    <a:pt x="149" y="8"/>
                    <a:pt x="106" y="10"/>
                    <a:pt x="93" y="10"/>
                  </a:cubicBezTo>
                  <a:cubicBezTo>
                    <a:pt x="62" y="10"/>
                    <a:pt x="29" y="9"/>
                    <a:pt x="0" y="8"/>
                  </a:cubicBezTo>
                  <a:cubicBezTo>
                    <a:pt x="0" y="15"/>
                    <a:pt x="0" y="15"/>
                    <a:pt x="0" y="15"/>
                  </a:cubicBezTo>
                  <a:cubicBezTo>
                    <a:pt x="0" y="19"/>
                    <a:pt x="1" y="21"/>
                    <a:pt x="4" y="21"/>
                  </a:cubicBezTo>
                  <a:cubicBezTo>
                    <a:pt x="55" y="23"/>
                    <a:pt x="55" y="30"/>
                    <a:pt x="55" y="109"/>
                  </a:cubicBezTo>
                  <a:cubicBezTo>
                    <a:pt x="55" y="336"/>
                    <a:pt x="55" y="336"/>
                    <a:pt x="55" y="336"/>
                  </a:cubicBezTo>
                  <a:cubicBezTo>
                    <a:pt x="55" y="415"/>
                    <a:pt x="55" y="422"/>
                    <a:pt x="5" y="424"/>
                  </a:cubicBezTo>
                  <a:cubicBezTo>
                    <a:pt x="1" y="424"/>
                    <a:pt x="0" y="426"/>
                    <a:pt x="0" y="430"/>
                  </a:cubicBezTo>
                  <a:cubicBezTo>
                    <a:pt x="0" y="436"/>
                    <a:pt x="0" y="436"/>
                    <a:pt x="0" y="436"/>
                  </a:cubicBezTo>
                  <a:cubicBezTo>
                    <a:pt x="30" y="436"/>
                    <a:pt x="58" y="435"/>
                    <a:pt x="88" y="435"/>
                  </a:cubicBezTo>
                  <a:cubicBezTo>
                    <a:pt x="126" y="435"/>
                    <a:pt x="142" y="436"/>
                    <a:pt x="192" y="436"/>
                  </a:cubicBezTo>
                  <a:cubicBezTo>
                    <a:pt x="297" y="436"/>
                    <a:pt x="361" y="387"/>
                    <a:pt x="366" y="323"/>
                  </a:cubicBezTo>
                  <a:cubicBezTo>
                    <a:pt x="367" y="323"/>
                    <a:pt x="367" y="323"/>
                    <a:pt x="367" y="323"/>
                  </a:cubicBezTo>
                  <a:cubicBezTo>
                    <a:pt x="399" y="398"/>
                    <a:pt x="469" y="445"/>
                    <a:pt x="561" y="445"/>
                  </a:cubicBezTo>
                  <a:cubicBezTo>
                    <a:pt x="605" y="445"/>
                    <a:pt x="645" y="431"/>
                    <a:pt x="678" y="405"/>
                  </a:cubicBezTo>
                  <a:cubicBezTo>
                    <a:pt x="679" y="405"/>
                    <a:pt x="679" y="405"/>
                    <a:pt x="679" y="405"/>
                  </a:cubicBezTo>
                  <a:cubicBezTo>
                    <a:pt x="684" y="438"/>
                    <a:pt x="684" y="438"/>
                    <a:pt x="684" y="438"/>
                  </a:cubicBezTo>
                  <a:cubicBezTo>
                    <a:pt x="685" y="440"/>
                    <a:pt x="687" y="441"/>
                    <a:pt x="691" y="441"/>
                  </a:cubicBezTo>
                  <a:cubicBezTo>
                    <a:pt x="695" y="441"/>
                    <a:pt x="695" y="441"/>
                    <a:pt x="695" y="441"/>
                  </a:cubicBezTo>
                  <a:cubicBezTo>
                    <a:pt x="695" y="420"/>
                    <a:pt x="696" y="363"/>
                    <a:pt x="696" y="321"/>
                  </a:cubicBezTo>
                  <a:cubicBezTo>
                    <a:pt x="697" y="321"/>
                    <a:pt x="697" y="321"/>
                    <a:pt x="697" y="321"/>
                  </a:cubicBezTo>
                  <a:cubicBezTo>
                    <a:pt x="729" y="399"/>
                    <a:pt x="800" y="445"/>
                    <a:pt x="886" y="445"/>
                  </a:cubicBezTo>
                  <a:cubicBezTo>
                    <a:pt x="970" y="445"/>
                    <a:pt x="1001" y="393"/>
                    <a:pt x="1037" y="393"/>
                  </a:cubicBezTo>
                  <a:cubicBezTo>
                    <a:pt x="1040" y="393"/>
                    <a:pt x="1041" y="392"/>
                    <a:pt x="1041" y="387"/>
                  </a:cubicBezTo>
                  <a:cubicBezTo>
                    <a:pt x="1041" y="380"/>
                    <a:pt x="1040" y="362"/>
                    <a:pt x="1040" y="351"/>
                  </a:cubicBezTo>
                  <a:cubicBezTo>
                    <a:pt x="1040" y="323"/>
                    <a:pt x="1040" y="323"/>
                    <a:pt x="1040" y="323"/>
                  </a:cubicBezTo>
                  <a:cubicBezTo>
                    <a:pt x="1040" y="269"/>
                    <a:pt x="1040" y="262"/>
                    <a:pt x="1076" y="260"/>
                  </a:cubicBezTo>
                  <a:cubicBezTo>
                    <a:pt x="1081" y="260"/>
                    <a:pt x="1081" y="258"/>
                    <a:pt x="1081" y="255"/>
                  </a:cubicBezTo>
                  <a:cubicBezTo>
                    <a:pt x="1081" y="248"/>
                    <a:pt x="1081" y="248"/>
                    <a:pt x="1081" y="248"/>
                  </a:cubicBezTo>
                  <a:cubicBezTo>
                    <a:pt x="1052" y="248"/>
                    <a:pt x="1032" y="249"/>
                    <a:pt x="1002" y="249"/>
                  </a:cubicBezTo>
                  <a:cubicBezTo>
                    <a:pt x="971" y="249"/>
                    <a:pt x="934" y="248"/>
                    <a:pt x="905" y="24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6E6F73"/>
                </a:solidFill>
                <a:latin typeface="+mn-lt"/>
                <a:sym typeface="Trebuchet MS" panose="020B0603020202020204" pitchFamily="34" charset="0"/>
              </a:endParaRPr>
            </a:p>
          </p:txBody>
        </p:sp>
        <p:sp>
          <p:nvSpPr>
            <p:cNvPr id="14" name="Freeform 6"/>
            <p:cNvSpPr>
              <a:spLocks noEditPoints="1"/>
            </p:cNvSpPr>
            <p:nvPr/>
          </p:nvSpPr>
          <p:spPr bwMode="auto">
            <a:xfrm>
              <a:off x="1475" y="3449"/>
              <a:ext cx="4693" cy="282"/>
            </a:xfrm>
            <a:custGeom>
              <a:avLst/>
              <a:gdLst>
                <a:gd name="T0" fmla="*/ 101 w 1984"/>
                <a:gd name="T1" fmla="*/ 32 h 119"/>
                <a:gd name="T2" fmla="*/ 43 w 1984"/>
                <a:gd name="T3" fmla="*/ 12 h 119"/>
                <a:gd name="T4" fmla="*/ 355 w 1984"/>
                <a:gd name="T5" fmla="*/ 29 h 119"/>
                <a:gd name="T6" fmla="*/ 274 w 1984"/>
                <a:gd name="T7" fmla="*/ 117 h 119"/>
                <a:gd name="T8" fmla="*/ 340 w 1984"/>
                <a:gd name="T9" fmla="*/ 31 h 119"/>
                <a:gd name="T10" fmla="*/ 869 w 1984"/>
                <a:gd name="T11" fmla="*/ 82 h 119"/>
                <a:gd name="T12" fmla="*/ 861 w 1984"/>
                <a:gd name="T13" fmla="*/ 6 h 119"/>
                <a:gd name="T14" fmla="*/ 153 w 1984"/>
                <a:gd name="T15" fmla="*/ 117 h 119"/>
                <a:gd name="T16" fmla="*/ 121 w 1984"/>
                <a:gd name="T17" fmla="*/ 117 h 119"/>
                <a:gd name="T18" fmla="*/ 103 w 1984"/>
                <a:gd name="T19" fmla="*/ 38 h 119"/>
                <a:gd name="T20" fmla="*/ 135 w 1984"/>
                <a:gd name="T21" fmla="*/ 38 h 119"/>
                <a:gd name="T22" fmla="*/ 153 w 1984"/>
                <a:gd name="T23" fmla="*/ 117 h 119"/>
                <a:gd name="T24" fmla="*/ 177 w 1984"/>
                <a:gd name="T25" fmla="*/ 38 h 119"/>
                <a:gd name="T26" fmla="*/ 201 w 1984"/>
                <a:gd name="T27" fmla="*/ 73 h 119"/>
                <a:gd name="T28" fmla="*/ 201 w 1984"/>
                <a:gd name="T29" fmla="*/ 78 h 119"/>
                <a:gd name="T30" fmla="*/ 374 w 1984"/>
                <a:gd name="T31" fmla="*/ 79 h 119"/>
                <a:gd name="T32" fmla="*/ 461 w 1984"/>
                <a:gd name="T33" fmla="*/ 117 h 119"/>
                <a:gd name="T34" fmla="*/ 497 w 1984"/>
                <a:gd name="T35" fmla="*/ 41 h 119"/>
                <a:gd name="T36" fmla="*/ 481 w 1984"/>
                <a:gd name="T37" fmla="*/ 119 h 119"/>
                <a:gd name="T38" fmla="*/ 515 w 1984"/>
                <a:gd name="T39" fmla="*/ 61 h 119"/>
                <a:gd name="T40" fmla="*/ 561 w 1984"/>
                <a:gd name="T41" fmla="*/ 44 h 119"/>
                <a:gd name="T42" fmla="*/ 622 w 1984"/>
                <a:gd name="T43" fmla="*/ 36 h 119"/>
                <a:gd name="T44" fmla="*/ 684 w 1984"/>
                <a:gd name="T45" fmla="*/ 53 h 119"/>
                <a:gd name="T46" fmla="*/ 675 w 1984"/>
                <a:gd name="T47" fmla="*/ 84 h 119"/>
                <a:gd name="T48" fmla="*/ 716 w 1984"/>
                <a:gd name="T49" fmla="*/ 43 h 119"/>
                <a:gd name="T50" fmla="*/ 921 w 1984"/>
                <a:gd name="T51" fmla="*/ 119 h 119"/>
                <a:gd name="T52" fmla="*/ 1029 w 1984"/>
                <a:gd name="T53" fmla="*/ 119 h 119"/>
                <a:gd name="T54" fmla="*/ 963 w 1984"/>
                <a:gd name="T55" fmla="*/ 113 h 119"/>
                <a:gd name="T56" fmla="*/ 1030 w 1984"/>
                <a:gd name="T57" fmla="*/ 96 h 119"/>
                <a:gd name="T58" fmla="*/ 1038 w 1984"/>
                <a:gd name="T59" fmla="*/ 119 h 119"/>
                <a:gd name="T60" fmla="*/ 1097 w 1984"/>
                <a:gd name="T61" fmla="*/ 101 h 119"/>
                <a:gd name="T62" fmla="*/ 1080 w 1984"/>
                <a:gd name="T63" fmla="*/ 43 h 119"/>
                <a:gd name="T64" fmla="*/ 1111 w 1984"/>
                <a:gd name="T65" fmla="*/ 38 h 119"/>
                <a:gd name="T66" fmla="*/ 1163 w 1984"/>
                <a:gd name="T67" fmla="*/ 43 h 119"/>
                <a:gd name="T68" fmla="*/ 1243 w 1984"/>
                <a:gd name="T69" fmla="*/ 117 h 119"/>
                <a:gd name="T70" fmla="*/ 1217 w 1984"/>
                <a:gd name="T71" fmla="*/ 38 h 119"/>
                <a:gd name="T72" fmla="*/ 1261 w 1984"/>
                <a:gd name="T73" fmla="*/ 91 h 119"/>
                <a:gd name="T74" fmla="*/ 1276 w 1984"/>
                <a:gd name="T75" fmla="*/ 44 h 119"/>
                <a:gd name="T76" fmla="*/ 1322 w 1984"/>
                <a:gd name="T77" fmla="*/ 61 h 119"/>
                <a:gd name="T78" fmla="*/ 1331 w 1984"/>
                <a:gd name="T79" fmla="*/ 117 h 119"/>
                <a:gd name="T80" fmla="*/ 1367 w 1984"/>
                <a:gd name="T81" fmla="*/ 42 h 119"/>
                <a:gd name="T82" fmla="*/ 1392 w 1984"/>
                <a:gd name="T83" fmla="*/ 53 h 119"/>
                <a:gd name="T84" fmla="*/ 1383 w 1984"/>
                <a:gd name="T85" fmla="*/ 84 h 119"/>
                <a:gd name="T86" fmla="*/ 1424 w 1984"/>
                <a:gd name="T87" fmla="*/ 42 h 119"/>
                <a:gd name="T88" fmla="*/ 1536 w 1984"/>
                <a:gd name="T89" fmla="*/ 87 h 119"/>
                <a:gd name="T90" fmla="*/ 1521 w 1984"/>
                <a:gd name="T91" fmla="*/ 37 h 119"/>
                <a:gd name="T92" fmla="*/ 1503 w 1984"/>
                <a:gd name="T93" fmla="*/ 87 h 119"/>
                <a:gd name="T94" fmla="*/ 1659 w 1984"/>
                <a:gd name="T95" fmla="*/ 104 h 119"/>
                <a:gd name="T96" fmla="*/ 1653 w 1984"/>
                <a:gd name="T97" fmla="*/ 33 h 119"/>
                <a:gd name="T98" fmla="*/ 1625 w 1984"/>
                <a:gd name="T99" fmla="*/ 66 h 119"/>
                <a:gd name="T100" fmla="*/ 1750 w 1984"/>
                <a:gd name="T101" fmla="*/ 111 h 119"/>
                <a:gd name="T102" fmla="*/ 1672 w 1984"/>
                <a:gd name="T103" fmla="*/ 117 h 119"/>
                <a:gd name="T104" fmla="*/ 1738 w 1984"/>
                <a:gd name="T105" fmla="*/ 56 h 119"/>
                <a:gd name="T106" fmla="*/ 1788 w 1984"/>
                <a:gd name="T107" fmla="*/ 36 h 119"/>
                <a:gd name="T108" fmla="*/ 1841 w 1984"/>
                <a:gd name="T109" fmla="*/ 59 h 119"/>
                <a:gd name="T110" fmla="*/ 1875 w 1984"/>
                <a:gd name="T111" fmla="*/ 110 h 119"/>
                <a:gd name="T112" fmla="*/ 1903 w 1984"/>
                <a:gd name="T113" fmla="*/ 71 h 119"/>
                <a:gd name="T114" fmla="*/ 1918 w 1984"/>
                <a:gd name="T115" fmla="*/ 117 h 119"/>
                <a:gd name="T116" fmla="*/ 1984 w 1984"/>
                <a:gd name="T117" fmla="*/ 59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984" h="119">
                  <a:moveTo>
                    <a:pt x="73" y="117"/>
                  </a:moveTo>
                  <a:cubicBezTo>
                    <a:pt x="73" y="113"/>
                    <a:pt x="73" y="113"/>
                    <a:pt x="73" y="113"/>
                  </a:cubicBezTo>
                  <a:cubicBezTo>
                    <a:pt x="73" y="112"/>
                    <a:pt x="72" y="111"/>
                    <a:pt x="71" y="111"/>
                  </a:cubicBezTo>
                  <a:cubicBezTo>
                    <a:pt x="58" y="109"/>
                    <a:pt x="58" y="109"/>
                    <a:pt x="58" y="88"/>
                  </a:cubicBezTo>
                  <a:cubicBezTo>
                    <a:pt x="58" y="12"/>
                    <a:pt x="58" y="12"/>
                    <a:pt x="58" y="12"/>
                  </a:cubicBezTo>
                  <a:cubicBezTo>
                    <a:pt x="58" y="11"/>
                    <a:pt x="59" y="10"/>
                    <a:pt x="60" y="10"/>
                  </a:cubicBezTo>
                  <a:cubicBezTo>
                    <a:pt x="71" y="10"/>
                    <a:pt x="71" y="10"/>
                    <a:pt x="71" y="10"/>
                  </a:cubicBezTo>
                  <a:cubicBezTo>
                    <a:pt x="85" y="10"/>
                    <a:pt x="93" y="12"/>
                    <a:pt x="95" y="31"/>
                  </a:cubicBezTo>
                  <a:cubicBezTo>
                    <a:pt x="96" y="32"/>
                    <a:pt x="96" y="32"/>
                    <a:pt x="97" y="32"/>
                  </a:cubicBezTo>
                  <a:cubicBezTo>
                    <a:pt x="101" y="32"/>
                    <a:pt x="101" y="32"/>
                    <a:pt x="101" y="32"/>
                  </a:cubicBezTo>
                  <a:cubicBezTo>
                    <a:pt x="101" y="24"/>
                    <a:pt x="101" y="10"/>
                    <a:pt x="101" y="2"/>
                  </a:cubicBezTo>
                  <a:cubicBezTo>
                    <a:pt x="94" y="2"/>
                    <a:pt x="85" y="2"/>
                    <a:pt x="71" y="2"/>
                  </a:cubicBezTo>
                  <a:cubicBezTo>
                    <a:pt x="31" y="2"/>
                    <a:pt x="31" y="2"/>
                    <a:pt x="31" y="2"/>
                  </a:cubicBezTo>
                  <a:cubicBezTo>
                    <a:pt x="16" y="2"/>
                    <a:pt x="7" y="2"/>
                    <a:pt x="0" y="2"/>
                  </a:cubicBezTo>
                  <a:cubicBezTo>
                    <a:pt x="0" y="10"/>
                    <a:pt x="0" y="27"/>
                    <a:pt x="0" y="35"/>
                  </a:cubicBezTo>
                  <a:cubicBezTo>
                    <a:pt x="4" y="35"/>
                    <a:pt x="4" y="35"/>
                    <a:pt x="4" y="35"/>
                  </a:cubicBezTo>
                  <a:cubicBezTo>
                    <a:pt x="5" y="35"/>
                    <a:pt x="6" y="34"/>
                    <a:pt x="6" y="33"/>
                  </a:cubicBezTo>
                  <a:cubicBezTo>
                    <a:pt x="8" y="12"/>
                    <a:pt x="16" y="10"/>
                    <a:pt x="30" y="10"/>
                  </a:cubicBezTo>
                  <a:cubicBezTo>
                    <a:pt x="41" y="10"/>
                    <a:pt x="41" y="10"/>
                    <a:pt x="41" y="10"/>
                  </a:cubicBezTo>
                  <a:cubicBezTo>
                    <a:pt x="43" y="10"/>
                    <a:pt x="43" y="11"/>
                    <a:pt x="43" y="12"/>
                  </a:cubicBezTo>
                  <a:cubicBezTo>
                    <a:pt x="43" y="88"/>
                    <a:pt x="43" y="88"/>
                    <a:pt x="43" y="88"/>
                  </a:cubicBezTo>
                  <a:cubicBezTo>
                    <a:pt x="43" y="109"/>
                    <a:pt x="43" y="109"/>
                    <a:pt x="30" y="111"/>
                  </a:cubicBezTo>
                  <a:cubicBezTo>
                    <a:pt x="29" y="111"/>
                    <a:pt x="29" y="112"/>
                    <a:pt x="29" y="113"/>
                  </a:cubicBezTo>
                  <a:cubicBezTo>
                    <a:pt x="29" y="117"/>
                    <a:pt x="29" y="117"/>
                    <a:pt x="29" y="117"/>
                  </a:cubicBezTo>
                  <a:cubicBezTo>
                    <a:pt x="36" y="117"/>
                    <a:pt x="43" y="117"/>
                    <a:pt x="51" y="117"/>
                  </a:cubicBezTo>
                  <a:cubicBezTo>
                    <a:pt x="59" y="117"/>
                    <a:pt x="65" y="117"/>
                    <a:pt x="73" y="117"/>
                  </a:cubicBezTo>
                  <a:close/>
                  <a:moveTo>
                    <a:pt x="367" y="85"/>
                  </a:moveTo>
                  <a:cubicBezTo>
                    <a:pt x="367" y="65"/>
                    <a:pt x="349" y="57"/>
                    <a:pt x="330" y="56"/>
                  </a:cubicBezTo>
                  <a:cubicBezTo>
                    <a:pt x="330" y="55"/>
                    <a:pt x="330" y="55"/>
                    <a:pt x="330" y="55"/>
                  </a:cubicBezTo>
                  <a:cubicBezTo>
                    <a:pt x="344" y="52"/>
                    <a:pt x="355" y="44"/>
                    <a:pt x="355" y="29"/>
                  </a:cubicBezTo>
                  <a:cubicBezTo>
                    <a:pt x="355" y="8"/>
                    <a:pt x="332" y="2"/>
                    <a:pt x="313" y="2"/>
                  </a:cubicBezTo>
                  <a:cubicBezTo>
                    <a:pt x="307" y="2"/>
                    <a:pt x="304" y="2"/>
                    <a:pt x="297" y="2"/>
                  </a:cubicBezTo>
                  <a:cubicBezTo>
                    <a:pt x="289" y="2"/>
                    <a:pt x="281" y="2"/>
                    <a:pt x="274" y="2"/>
                  </a:cubicBezTo>
                  <a:cubicBezTo>
                    <a:pt x="274" y="7"/>
                    <a:pt x="274" y="7"/>
                    <a:pt x="274" y="7"/>
                  </a:cubicBezTo>
                  <a:cubicBezTo>
                    <a:pt x="274" y="8"/>
                    <a:pt x="274" y="8"/>
                    <a:pt x="275" y="8"/>
                  </a:cubicBezTo>
                  <a:cubicBezTo>
                    <a:pt x="288" y="10"/>
                    <a:pt x="288" y="11"/>
                    <a:pt x="288" y="32"/>
                  </a:cubicBezTo>
                  <a:cubicBezTo>
                    <a:pt x="288" y="88"/>
                    <a:pt x="288" y="88"/>
                    <a:pt x="288" y="88"/>
                  </a:cubicBezTo>
                  <a:cubicBezTo>
                    <a:pt x="288" y="109"/>
                    <a:pt x="288" y="109"/>
                    <a:pt x="275" y="111"/>
                  </a:cubicBezTo>
                  <a:cubicBezTo>
                    <a:pt x="274" y="111"/>
                    <a:pt x="274" y="112"/>
                    <a:pt x="274" y="113"/>
                  </a:cubicBezTo>
                  <a:cubicBezTo>
                    <a:pt x="274" y="117"/>
                    <a:pt x="274" y="117"/>
                    <a:pt x="274" y="117"/>
                  </a:cubicBezTo>
                  <a:cubicBezTo>
                    <a:pt x="282" y="117"/>
                    <a:pt x="289" y="117"/>
                    <a:pt x="297" y="117"/>
                  </a:cubicBezTo>
                  <a:cubicBezTo>
                    <a:pt x="306" y="117"/>
                    <a:pt x="310" y="117"/>
                    <a:pt x="320" y="117"/>
                  </a:cubicBezTo>
                  <a:cubicBezTo>
                    <a:pt x="349" y="117"/>
                    <a:pt x="367" y="103"/>
                    <a:pt x="367" y="85"/>
                  </a:cubicBezTo>
                  <a:close/>
                  <a:moveTo>
                    <a:pt x="349" y="85"/>
                  </a:moveTo>
                  <a:cubicBezTo>
                    <a:pt x="349" y="102"/>
                    <a:pt x="339" y="109"/>
                    <a:pt x="319" y="109"/>
                  </a:cubicBezTo>
                  <a:cubicBezTo>
                    <a:pt x="304" y="109"/>
                    <a:pt x="304" y="108"/>
                    <a:pt x="304" y="86"/>
                  </a:cubicBezTo>
                  <a:cubicBezTo>
                    <a:pt x="304" y="60"/>
                    <a:pt x="304" y="60"/>
                    <a:pt x="304" y="60"/>
                  </a:cubicBezTo>
                  <a:cubicBezTo>
                    <a:pt x="311" y="60"/>
                    <a:pt x="311" y="60"/>
                    <a:pt x="311" y="60"/>
                  </a:cubicBezTo>
                  <a:cubicBezTo>
                    <a:pt x="335" y="60"/>
                    <a:pt x="349" y="66"/>
                    <a:pt x="349" y="85"/>
                  </a:cubicBezTo>
                  <a:close/>
                  <a:moveTo>
                    <a:pt x="340" y="31"/>
                  </a:moveTo>
                  <a:cubicBezTo>
                    <a:pt x="340" y="47"/>
                    <a:pt x="329" y="53"/>
                    <a:pt x="311" y="53"/>
                  </a:cubicBezTo>
                  <a:cubicBezTo>
                    <a:pt x="304" y="53"/>
                    <a:pt x="304" y="53"/>
                    <a:pt x="304" y="53"/>
                  </a:cubicBezTo>
                  <a:cubicBezTo>
                    <a:pt x="304" y="12"/>
                    <a:pt x="304" y="12"/>
                    <a:pt x="304" y="12"/>
                  </a:cubicBezTo>
                  <a:cubicBezTo>
                    <a:pt x="304" y="10"/>
                    <a:pt x="304" y="10"/>
                    <a:pt x="306" y="10"/>
                  </a:cubicBezTo>
                  <a:cubicBezTo>
                    <a:pt x="308" y="10"/>
                    <a:pt x="314" y="10"/>
                    <a:pt x="316" y="10"/>
                  </a:cubicBezTo>
                  <a:cubicBezTo>
                    <a:pt x="331" y="10"/>
                    <a:pt x="340" y="16"/>
                    <a:pt x="340" y="31"/>
                  </a:cubicBezTo>
                  <a:close/>
                  <a:moveTo>
                    <a:pt x="875" y="118"/>
                  </a:moveTo>
                  <a:cubicBezTo>
                    <a:pt x="875" y="110"/>
                    <a:pt x="875" y="89"/>
                    <a:pt x="875" y="81"/>
                  </a:cubicBezTo>
                  <a:cubicBezTo>
                    <a:pt x="871" y="81"/>
                    <a:pt x="871" y="81"/>
                    <a:pt x="871" y="81"/>
                  </a:cubicBezTo>
                  <a:cubicBezTo>
                    <a:pt x="870" y="81"/>
                    <a:pt x="869" y="81"/>
                    <a:pt x="869" y="82"/>
                  </a:cubicBezTo>
                  <a:cubicBezTo>
                    <a:pt x="867" y="103"/>
                    <a:pt x="856" y="112"/>
                    <a:pt x="838" y="112"/>
                  </a:cubicBezTo>
                  <a:cubicBezTo>
                    <a:pt x="814" y="112"/>
                    <a:pt x="802" y="92"/>
                    <a:pt x="802" y="59"/>
                  </a:cubicBezTo>
                  <a:cubicBezTo>
                    <a:pt x="802" y="34"/>
                    <a:pt x="807" y="7"/>
                    <a:pt x="834" y="7"/>
                  </a:cubicBezTo>
                  <a:cubicBezTo>
                    <a:pt x="850" y="7"/>
                    <a:pt x="859" y="17"/>
                    <a:pt x="863" y="34"/>
                  </a:cubicBezTo>
                  <a:cubicBezTo>
                    <a:pt x="863" y="35"/>
                    <a:pt x="863" y="35"/>
                    <a:pt x="864" y="35"/>
                  </a:cubicBezTo>
                  <a:cubicBezTo>
                    <a:pt x="869" y="35"/>
                    <a:pt x="869" y="35"/>
                    <a:pt x="869" y="35"/>
                  </a:cubicBezTo>
                  <a:cubicBezTo>
                    <a:pt x="869" y="27"/>
                    <a:pt x="868" y="9"/>
                    <a:pt x="868" y="1"/>
                  </a:cubicBezTo>
                  <a:cubicBezTo>
                    <a:pt x="866" y="1"/>
                    <a:pt x="866" y="1"/>
                    <a:pt x="866" y="1"/>
                  </a:cubicBezTo>
                  <a:cubicBezTo>
                    <a:pt x="865" y="1"/>
                    <a:pt x="864" y="1"/>
                    <a:pt x="863" y="2"/>
                  </a:cubicBezTo>
                  <a:cubicBezTo>
                    <a:pt x="861" y="6"/>
                    <a:pt x="861" y="6"/>
                    <a:pt x="861" y="6"/>
                  </a:cubicBezTo>
                  <a:cubicBezTo>
                    <a:pt x="861" y="6"/>
                    <a:pt x="861" y="6"/>
                    <a:pt x="861" y="6"/>
                  </a:cubicBezTo>
                  <a:cubicBezTo>
                    <a:pt x="854" y="2"/>
                    <a:pt x="845" y="0"/>
                    <a:pt x="834" y="0"/>
                  </a:cubicBezTo>
                  <a:cubicBezTo>
                    <a:pt x="802" y="0"/>
                    <a:pt x="784" y="26"/>
                    <a:pt x="784" y="59"/>
                  </a:cubicBezTo>
                  <a:cubicBezTo>
                    <a:pt x="784" y="98"/>
                    <a:pt x="806" y="119"/>
                    <a:pt x="836" y="119"/>
                  </a:cubicBezTo>
                  <a:cubicBezTo>
                    <a:pt x="852" y="119"/>
                    <a:pt x="862" y="115"/>
                    <a:pt x="867" y="113"/>
                  </a:cubicBezTo>
                  <a:cubicBezTo>
                    <a:pt x="867" y="113"/>
                    <a:pt x="867" y="113"/>
                    <a:pt x="867" y="113"/>
                  </a:cubicBezTo>
                  <a:cubicBezTo>
                    <a:pt x="870" y="117"/>
                    <a:pt x="870" y="117"/>
                    <a:pt x="870" y="117"/>
                  </a:cubicBezTo>
                  <a:cubicBezTo>
                    <a:pt x="871" y="118"/>
                    <a:pt x="871" y="118"/>
                    <a:pt x="872" y="118"/>
                  </a:cubicBezTo>
                  <a:lnTo>
                    <a:pt x="875" y="118"/>
                  </a:lnTo>
                  <a:close/>
                  <a:moveTo>
                    <a:pt x="153" y="117"/>
                  </a:moveTo>
                  <a:cubicBezTo>
                    <a:pt x="147" y="117"/>
                    <a:pt x="140" y="117"/>
                    <a:pt x="135" y="117"/>
                  </a:cubicBezTo>
                  <a:cubicBezTo>
                    <a:pt x="135" y="113"/>
                    <a:pt x="135" y="113"/>
                    <a:pt x="135" y="113"/>
                  </a:cubicBezTo>
                  <a:cubicBezTo>
                    <a:pt x="135" y="112"/>
                    <a:pt x="135" y="112"/>
                    <a:pt x="136" y="112"/>
                  </a:cubicBezTo>
                  <a:cubicBezTo>
                    <a:pt x="146" y="111"/>
                    <a:pt x="146" y="110"/>
                    <a:pt x="146" y="96"/>
                  </a:cubicBezTo>
                  <a:cubicBezTo>
                    <a:pt x="146" y="79"/>
                    <a:pt x="146" y="79"/>
                    <a:pt x="146" y="79"/>
                  </a:cubicBezTo>
                  <a:cubicBezTo>
                    <a:pt x="110" y="79"/>
                    <a:pt x="110" y="79"/>
                    <a:pt x="110" y="79"/>
                  </a:cubicBezTo>
                  <a:cubicBezTo>
                    <a:pt x="110" y="96"/>
                    <a:pt x="110" y="96"/>
                    <a:pt x="110" y="96"/>
                  </a:cubicBezTo>
                  <a:cubicBezTo>
                    <a:pt x="110" y="110"/>
                    <a:pt x="110" y="111"/>
                    <a:pt x="120" y="112"/>
                  </a:cubicBezTo>
                  <a:cubicBezTo>
                    <a:pt x="121" y="112"/>
                    <a:pt x="121" y="112"/>
                    <a:pt x="121" y="113"/>
                  </a:cubicBezTo>
                  <a:cubicBezTo>
                    <a:pt x="121" y="117"/>
                    <a:pt x="121" y="117"/>
                    <a:pt x="121" y="117"/>
                  </a:cubicBezTo>
                  <a:cubicBezTo>
                    <a:pt x="116" y="117"/>
                    <a:pt x="109" y="117"/>
                    <a:pt x="103" y="117"/>
                  </a:cubicBezTo>
                  <a:cubicBezTo>
                    <a:pt x="98" y="117"/>
                    <a:pt x="91" y="117"/>
                    <a:pt x="86" y="117"/>
                  </a:cubicBezTo>
                  <a:cubicBezTo>
                    <a:pt x="86" y="113"/>
                    <a:pt x="86" y="113"/>
                    <a:pt x="86" y="113"/>
                  </a:cubicBezTo>
                  <a:cubicBezTo>
                    <a:pt x="86" y="112"/>
                    <a:pt x="86" y="112"/>
                    <a:pt x="86" y="112"/>
                  </a:cubicBezTo>
                  <a:cubicBezTo>
                    <a:pt x="96" y="111"/>
                    <a:pt x="96" y="110"/>
                    <a:pt x="96" y="96"/>
                  </a:cubicBezTo>
                  <a:cubicBezTo>
                    <a:pt x="96" y="59"/>
                    <a:pt x="96" y="59"/>
                    <a:pt x="96" y="59"/>
                  </a:cubicBezTo>
                  <a:cubicBezTo>
                    <a:pt x="96" y="45"/>
                    <a:pt x="96" y="44"/>
                    <a:pt x="86" y="43"/>
                  </a:cubicBezTo>
                  <a:cubicBezTo>
                    <a:pt x="86" y="43"/>
                    <a:pt x="86" y="43"/>
                    <a:pt x="86" y="42"/>
                  </a:cubicBezTo>
                  <a:cubicBezTo>
                    <a:pt x="86" y="38"/>
                    <a:pt x="86" y="38"/>
                    <a:pt x="86" y="38"/>
                  </a:cubicBezTo>
                  <a:cubicBezTo>
                    <a:pt x="91" y="38"/>
                    <a:pt x="98" y="38"/>
                    <a:pt x="103" y="38"/>
                  </a:cubicBezTo>
                  <a:cubicBezTo>
                    <a:pt x="109" y="38"/>
                    <a:pt x="116" y="38"/>
                    <a:pt x="121" y="38"/>
                  </a:cubicBezTo>
                  <a:cubicBezTo>
                    <a:pt x="121" y="42"/>
                    <a:pt x="121" y="42"/>
                    <a:pt x="121" y="42"/>
                  </a:cubicBezTo>
                  <a:cubicBezTo>
                    <a:pt x="121" y="43"/>
                    <a:pt x="121" y="43"/>
                    <a:pt x="120" y="43"/>
                  </a:cubicBezTo>
                  <a:cubicBezTo>
                    <a:pt x="110" y="44"/>
                    <a:pt x="110" y="45"/>
                    <a:pt x="110" y="59"/>
                  </a:cubicBezTo>
                  <a:cubicBezTo>
                    <a:pt x="110" y="73"/>
                    <a:pt x="110" y="73"/>
                    <a:pt x="110" y="73"/>
                  </a:cubicBezTo>
                  <a:cubicBezTo>
                    <a:pt x="146" y="73"/>
                    <a:pt x="146" y="73"/>
                    <a:pt x="146" y="73"/>
                  </a:cubicBezTo>
                  <a:cubicBezTo>
                    <a:pt x="146" y="59"/>
                    <a:pt x="146" y="59"/>
                    <a:pt x="146" y="59"/>
                  </a:cubicBezTo>
                  <a:cubicBezTo>
                    <a:pt x="146" y="45"/>
                    <a:pt x="146" y="44"/>
                    <a:pt x="136" y="43"/>
                  </a:cubicBezTo>
                  <a:cubicBezTo>
                    <a:pt x="135" y="43"/>
                    <a:pt x="135" y="43"/>
                    <a:pt x="135" y="42"/>
                  </a:cubicBezTo>
                  <a:cubicBezTo>
                    <a:pt x="135" y="38"/>
                    <a:pt x="135" y="38"/>
                    <a:pt x="135" y="38"/>
                  </a:cubicBezTo>
                  <a:cubicBezTo>
                    <a:pt x="140" y="38"/>
                    <a:pt x="147" y="38"/>
                    <a:pt x="153" y="38"/>
                  </a:cubicBezTo>
                  <a:cubicBezTo>
                    <a:pt x="158" y="38"/>
                    <a:pt x="165" y="38"/>
                    <a:pt x="171" y="38"/>
                  </a:cubicBezTo>
                  <a:cubicBezTo>
                    <a:pt x="171" y="42"/>
                    <a:pt x="171" y="42"/>
                    <a:pt x="171" y="42"/>
                  </a:cubicBezTo>
                  <a:cubicBezTo>
                    <a:pt x="171" y="43"/>
                    <a:pt x="170" y="43"/>
                    <a:pt x="170" y="43"/>
                  </a:cubicBezTo>
                  <a:cubicBezTo>
                    <a:pt x="160" y="44"/>
                    <a:pt x="160" y="45"/>
                    <a:pt x="160" y="59"/>
                  </a:cubicBezTo>
                  <a:cubicBezTo>
                    <a:pt x="160" y="96"/>
                    <a:pt x="160" y="96"/>
                    <a:pt x="160" y="96"/>
                  </a:cubicBezTo>
                  <a:cubicBezTo>
                    <a:pt x="160" y="110"/>
                    <a:pt x="160" y="111"/>
                    <a:pt x="170" y="112"/>
                  </a:cubicBezTo>
                  <a:cubicBezTo>
                    <a:pt x="170" y="112"/>
                    <a:pt x="171" y="112"/>
                    <a:pt x="171" y="113"/>
                  </a:cubicBezTo>
                  <a:cubicBezTo>
                    <a:pt x="171" y="117"/>
                    <a:pt x="171" y="117"/>
                    <a:pt x="171" y="117"/>
                  </a:cubicBezTo>
                  <a:cubicBezTo>
                    <a:pt x="165" y="117"/>
                    <a:pt x="158" y="117"/>
                    <a:pt x="153" y="117"/>
                  </a:cubicBezTo>
                  <a:close/>
                  <a:moveTo>
                    <a:pt x="219" y="117"/>
                  </a:moveTo>
                  <a:cubicBezTo>
                    <a:pt x="194" y="117"/>
                    <a:pt x="194" y="117"/>
                    <a:pt x="194" y="117"/>
                  </a:cubicBezTo>
                  <a:cubicBezTo>
                    <a:pt x="189" y="117"/>
                    <a:pt x="182" y="117"/>
                    <a:pt x="177" y="117"/>
                  </a:cubicBezTo>
                  <a:cubicBezTo>
                    <a:pt x="177" y="113"/>
                    <a:pt x="177" y="113"/>
                    <a:pt x="177" y="113"/>
                  </a:cubicBezTo>
                  <a:cubicBezTo>
                    <a:pt x="177" y="112"/>
                    <a:pt x="177" y="112"/>
                    <a:pt x="178" y="112"/>
                  </a:cubicBezTo>
                  <a:cubicBezTo>
                    <a:pt x="188" y="111"/>
                    <a:pt x="188" y="110"/>
                    <a:pt x="188" y="96"/>
                  </a:cubicBezTo>
                  <a:cubicBezTo>
                    <a:pt x="188" y="59"/>
                    <a:pt x="188" y="59"/>
                    <a:pt x="188" y="59"/>
                  </a:cubicBezTo>
                  <a:cubicBezTo>
                    <a:pt x="188" y="45"/>
                    <a:pt x="188" y="44"/>
                    <a:pt x="178" y="43"/>
                  </a:cubicBezTo>
                  <a:cubicBezTo>
                    <a:pt x="177" y="43"/>
                    <a:pt x="177" y="43"/>
                    <a:pt x="177" y="42"/>
                  </a:cubicBezTo>
                  <a:cubicBezTo>
                    <a:pt x="177" y="38"/>
                    <a:pt x="177" y="38"/>
                    <a:pt x="177" y="38"/>
                  </a:cubicBezTo>
                  <a:cubicBezTo>
                    <a:pt x="182" y="38"/>
                    <a:pt x="189" y="38"/>
                    <a:pt x="194" y="38"/>
                  </a:cubicBezTo>
                  <a:cubicBezTo>
                    <a:pt x="213" y="38"/>
                    <a:pt x="213" y="38"/>
                    <a:pt x="213" y="38"/>
                  </a:cubicBezTo>
                  <a:cubicBezTo>
                    <a:pt x="223" y="38"/>
                    <a:pt x="229" y="38"/>
                    <a:pt x="234" y="38"/>
                  </a:cubicBezTo>
                  <a:cubicBezTo>
                    <a:pt x="234" y="44"/>
                    <a:pt x="234" y="54"/>
                    <a:pt x="235" y="59"/>
                  </a:cubicBezTo>
                  <a:cubicBezTo>
                    <a:pt x="231" y="59"/>
                    <a:pt x="231" y="59"/>
                    <a:pt x="231" y="59"/>
                  </a:cubicBezTo>
                  <a:cubicBezTo>
                    <a:pt x="230" y="59"/>
                    <a:pt x="230" y="59"/>
                    <a:pt x="230" y="58"/>
                  </a:cubicBezTo>
                  <a:cubicBezTo>
                    <a:pt x="228" y="46"/>
                    <a:pt x="223" y="44"/>
                    <a:pt x="213" y="44"/>
                  </a:cubicBezTo>
                  <a:cubicBezTo>
                    <a:pt x="202" y="44"/>
                    <a:pt x="202" y="44"/>
                    <a:pt x="202" y="44"/>
                  </a:cubicBezTo>
                  <a:cubicBezTo>
                    <a:pt x="201" y="44"/>
                    <a:pt x="201" y="45"/>
                    <a:pt x="201" y="46"/>
                  </a:cubicBezTo>
                  <a:cubicBezTo>
                    <a:pt x="201" y="73"/>
                    <a:pt x="201" y="73"/>
                    <a:pt x="201" y="73"/>
                  </a:cubicBezTo>
                  <a:cubicBezTo>
                    <a:pt x="202" y="73"/>
                    <a:pt x="202" y="73"/>
                    <a:pt x="202" y="73"/>
                  </a:cubicBezTo>
                  <a:cubicBezTo>
                    <a:pt x="212" y="73"/>
                    <a:pt x="215" y="71"/>
                    <a:pt x="216" y="63"/>
                  </a:cubicBezTo>
                  <a:cubicBezTo>
                    <a:pt x="216" y="62"/>
                    <a:pt x="216" y="62"/>
                    <a:pt x="217" y="62"/>
                  </a:cubicBezTo>
                  <a:cubicBezTo>
                    <a:pt x="221" y="62"/>
                    <a:pt x="221" y="62"/>
                    <a:pt x="221" y="62"/>
                  </a:cubicBezTo>
                  <a:cubicBezTo>
                    <a:pt x="221" y="67"/>
                    <a:pt x="220" y="71"/>
                    <a:pt x="220" y="76"/>
                  </a:cubicBezTo>
                  <a:cubicBezTo>
                    <a:pt x="220" y="82"/>
                    <a:pt x="221" y="85"/>
                    <a:pt x="221" y="90"/>
                  </a:cubicBezTo>
                  <a:cubicBezTo>
                    <a:pt x="217" y="90"/>
                    <a:pt x="217" y="90"/>
                    <a:pt x="217" y="90"/>
                  </a:cubicBezTo>
                  <a:cubicBezTo>
                    <a:pt x="216" y="90"/>
                    <a:pt x="216" y="90"/>
                    <a:pt x="216" y="89"/>
                  </a:cubicBezTo>
                  <a:cubicBezTo>
                    <a:pt x="215" y="79"/>
                    <a:pt x="212" y="78"/>
                    <a:pt x="202" y="78"/>
                  </a:cubicBezTo>
                  <a:cubicBezTo>
                    <a:pt x="201" y="78"/>
                    <a:pt x="201" y="78"/>
                    <a:pt x="201" y="78"/>
                  </a:cubicBezTo>
                  <a:cubicBezTo>
                    <a:pt x="201" y="95"/>
                    <a:pt x="201" y="95"/>
                    <a:pt x="201" y="95"/>
                  </a:cubicBezTo>
                  <a:cubicBezTo>
                    <a:pt x="201" y="109"/>
                    <a:pt x="201" y="110"/>
                    <a:pt x="212" y="110"/>
                  </a:cubicBezTo>
                  <a:cubicBezTo>
                    <a:pt x="219" y="110"/>
                    <a:pt x="219" y="110"/>
                    <a:pt x="219" y="110"/>
                  </a:cubicBezTo>
                  <a:cubicBezTo>
                    <a:pt x="229" y="110"/>
                    <a:pt x="234" y="108"/>
                    <a:pt x="236" y="94"/>
                  </a:cubicBezTo>
                  <a:cubicBezTo>
                    <a:pt x="236" y="94"/>
                    <a:pt x="236" y="93"/>
                    <a:pt x="237" y="93"/>
                  </a:cubicBezTo>
                  <a:cubicBezTo>
                    <a:pt x="241" y="93"/>
                    <a:pt x="241" y="93"/>
                    <a:pt x="241" y="93"/>
                  </a:cubicBezTo>
                  <a:cubicBezTo>
                    <a:pt x="241" y="99"/>
                    <a:pt x="240" y="111"/>
                    <a:pt x="240" y="117"/>
                  </a:cubicBezTo>
                  <a:cubicBezTo>
                    <a:pt x="235" y="117"/>
                    <a:pt x="229" y="117"/>
                    <a:pt x="219" y="117"/>
                  </a:cubicBezTo>
                  <a:close/>
                  <a:moveTo>
                    <a:pt x="412" y="119"/>
                  </a:moveTo>
                  <a:cubicBezTo>
                    <a:pt x="391" y="119"/>
                    <a:pt x="374" y="103"/>
                    <a:pt x="374" y="79"/>
                  </a:cubicBezTo>
                  <a:cubicBezTo>
                    <a:pt x="374" y="50"/>
                    <a:pt x="392" y="36"/>
                    <a:pt x="412" y="36"/>
                  </a:cubicBezTo>
                  <a:cubicBezTo>
                    <a:pt x="434" y="36"/>
                    <a:pt x="451" y="52"/>
                    <a:pt x="451" y="76"/>
                  </a:cubicBezTo>
                  <a:cubicBezTo>
                    <a:pt x="451" y="105"/>
                    <a:pt x="433" y="119"/>
                    <a:pt x="412" y="119"/>
                  </a:cubicBezTo>
                  <a:close/>
                  <a:moveTo>
                    <a:pt x="411" y="43"/>
                  </a:moveTo>
                  <a:cubicBezTo>
                    <a:pt x="397" y="43"/>
                    <a:pt x="390" y="54"/>
                    <a:pt x="390" y="78"/>
                  </a:cubicBezTo>
                  <a:cubicBezTo>
                    <a:pt x="390" y="103"/>
                    <a:pt x="399" y="112"/>
                    <a:pt x="413" y="112"/>
                  </a:cubicBezTo>
                  <a:cubicBezTo>
                    <a:pt x="428" y="112"/>
                    <a:pt x="435" y="101"/>
                    <a:pt x="435" y="77"/>
                  </a:cubicBezTo>
                  <a:cubicBezTo>
                    <a:pt x="435" y="52"/>
                    <a:pt x="426" y="43"/>
                    <a:pt x="411" y="43"/>
                  </a:cubicBezTo>
                  <a:close/>
                  <a:moveTo>
                    <a:pt x="463" y="115"/>
                  </a:moveTo>
                  <a:cubicBezTo>
                    <a:pt x="461" y="117"/>
                    <a:pt x="461" y="117"/>
                    <a:pt x="461" y="117"/>
                  </a:cubicBezTo>
                  <a:cubicBezTo>
                    <a:pt x="461" y="118"/>
                    <a:pt x="460" y="118"/>
                    <a:pt x="459" y="118"/>
                  </a:cubicBezTo>
                  <a:cubicBezTo>
                    <a:pt x="457" y="118"/>
                    <a:pt x="457" y="118"/>
                    <a:pt x="457" y="118"/>
                  </a:cubicBezTo>
                  <a:cubicBezTo>
                    <a:pt x="457" y="113"/>
                    <a:pt x="457" y="98"/>
                    <a:pt x="457" y="93"/>
                  </a:cubicBezTo>
                  <a:cubicBezTo>
                    <a:pt x="461" y="93"/>
                    <a:pt x="461" y="93"/>
                    <a:pt x="461" y="93"/>
                  </a:cubicBezTo>
                  <a:cubicBezTo>
                    <a:pt x="461" y="93"/>
                    <a:pt x="462" y="93"/>
                    <a:pt x="462" y="93"/>
                  </a:cubicBezTo>
                  <a:cubicBezTo>
                    <a:pt x="464" y="106"/>
                    <a:pt x="470" y="112"/>
                    <a:pt x="481" y="112"/>
                  </a:cubicBezTo>
                  <a:cubicBezTo>
                    <a:pt x="491" y="112"/>
                    <a:pt x="497" y="108"/>
                    <a:pt x="497" y="101"/>
                  </a:cubicBezTo>
                  <a:cubicBezTo>
                    <a:pt x="497" y="79"/>
                    <a:pt x="457" y="86"/>
                    <a:pt x="457" y="59"/>
                  </a:cubicBezTo>
                  <a:cubicBezTo>
                    <a:pt x="457" y="45"/>
                    <a:pt x="467" y="36"/>
                    <a:pt x="481" y="36"/>
                  </a:cubicBezTo>
                  <a:cubicBezTo>
                    <a:pt x="486" y="36"/>
                    <a:pt x="493" y="37"/>
                    <a:pt x="497" y="41"/>
                  </a:cubicBezTo>
                  <a:cubicBezTo>
                    <a:pt x="499" y="39"/>
                    <a:pt x="499" y="39"/>
                    <a:pt x="499" y="39"/>
                  </a:cubicBezTo>
                  <a:cubicBezTo>
                    <a:pt x="499" y="38"/>
                    <a:pt x="499" y="38"/>
                    <a:pt x="500" y="38"/>
                  </a:cubicBezTo>
                  <a:cubicBezTo>
                    <a:pt x="503" y="38"/>
                    <a:pt x="503" y="38"/>
                    <a:pt x="503" y="38"/>
                  </a:cubicBezTo>
                  <a:cubicBezTo>
                    <a:pt x="503" y="43"/>
                    <a:pt x="503" y="56"/>
                    <a:pt x="503" y="61"/>
                  </a:cubicBezTo>
                  <a:cubicBezTo>
                    <a:pt x="499" y="61"/>
                    <a:pt x="499" y="61"/>
                    <a:pt x="499" y="61"/>
                  </a:cubicBezTo>
                  <a:cubicBezTo>
                    <a:pt x="499" y="61"/>
                    <a:pt x="499" y="61"/>
                    <a:pt x="498" y="61"/>
                  </a:cubicBezTo>
                  <a:cubicBezTo>
                    <a:pt x="496" y="50"/>
                    <a:pt x="491" y="43"/>
                    <a:pt x="481" y="43"/>
                  </a:cubicBezTo>
                  <a:cubicBezTo>
                    <a:pt x="472" y="43"/>
                    <a:pt x="468" y="48"/>
                    <a:pt x="468" y="53"/>
                  </a:cubicBezTo>
                  <a:cubicBezTo>
                    <a:pt x="468" y="74"/>
                    <a:pt x="509" y="67"/>
                    <a:pt x="509" y="94"/>
                  </a:cubicBezTo>
                  <a:cubicBezTo>
                    <a:pt x="509" y="111"/>
                    <a:pt x="495" y="119"/>
                    <a:pt x="481" y="119"/>
                  </a:cubicBezTo>
                  <a:cubicBezTo>
                    <a:pt x="473" y="119"/>
                    <a:pt x="467" y="117"/>
                    <a:pt x="463" y="115"/>
                  </a:cubicBezTo>
                  <a:close/>
                  <a:moveTo>
                    <a:pt x="547" y="117"/>
                  </a:moveTo>
                  <a:cubicBezTo>
                    <a:pt x="541" y="117"/>
                    <a:pt x="534" y="117"/>
                    <a:pt x="529" y="117"/>
                  </a:cubicBezTo>
                  <a:cubicBezTo>
                    <a:pt x="529" y="113"/>
                    <a:pt x="529" y="113"/>
                    <a:pt x="529" y="113"/>
                  </a:cubicBezTo>
                  <a:cubicBezTo>
                    <a:pt x="529" y="112"/>
                    <a:pt x="529" y="112"/>
                    <a:pt x="530" y="112"/>
                  </a:cubicBezTo>
                  <a:cubicBezTo>
                    <a:pt x="540" y="111"/>
                    <a:pt x="540" y="110"/>
                    <a:pt x="540" y="96"/>
                  </a:cubicBezTo>
                  <a:cubicBezTo>
                    <a:pt x="540" y="46"/>
                    <a:pt x="540" y="46"/>
                    <a:pt x="540" y="46"/>
                  </a:cubicBezTo>
                  <a:cubicBezTo>
                    <a:pt x="540" y="45"/>
                    <a:pt x="540" y="44"/>
                    <a:pt x="539" y="44"/>
                  </a:cubicBezTo>
                  <a:cubicBezTo>
                    <a:pt x="532" y="44"/>
                    <a:pt x="532" y="44"/>
                    <a:pt x="532" y="44"/>
                  </a:cubicBezTo>
                  <a:cubicBezTo>
                    <a:pt x="522" y="44"/>
                    <a:pt x="517" y="46"/>
                    <a:pt x="515" y="61"/>
                  </a:cubicBezTo>
                  <a:cubicBezTo>
                    <a:pt x="515" y="61"/>
                    <a:pt x="515" y="61"/>
                    <a:pt x="514" y="61"/>
                  </a:cubicBezTo>
                  <a:cubicBezTo>
                    <a:pt x="511" y="61"/>
                    <a:pt x="511" y="61"/>
                    <a:pt x="511" y="61"/>
                  </a:cubicBezTo>
                  <a:cubicBezTo>
                    <a:pt x="511" y="56"/>
                    <a:pt x="511" y="44"/>
                    <a:pt x="511" y="38"/>
                  </a:cubicBezTo>
                  <a:cubicBezTo>
                    <a:pt x="516" y="38"/>
                    <a:pt x="522" y="38"/>
                    <a:pt x="532" y="38"/>
                  </a:cubicBezTo>
                  <a:cubicBezTo>
                    <a:pt x="561" y="38"/>
                    <a:pt x="561" y="38"/>
                    <a:pt x="561" y="38"/>
                  </a:cubicBezTo>
                  <a:cubicBezTo>
                    <a:pt x="571" y="38"/>
                    <a:pt x="577" y="38"/>
                    <a:pt x="582" y="38"/>
                  </a:cubicBezTo>
                  <a:cubicBezTo>
                    <a:pt x="582" y="44"/>
                    <a:pt x="583" y="56"/>
                    <a:pt x="583" y="61"/>
                  </a:cubicBezTo>
                  <a:cubicBezTo>
                    <a:pt x="579" y="61"/>
                    <a:pt x="579" y="61"/>
                    <a:pt x="579" y="61"/>
                  </a:cubicBezTo>
                  <a:cubicBezTo>
                    <a:pt x="578" y="61"/>
                    <a:pt x="578" y="61"/>
                    <a:pt x="578" y="61"/>
                  </a:cubicBezTo>
                  <a:cubicBezTo>
                    <a:pt x="576" y="46"/>
                    <a:pt x="571" y="44"/>
                    <a:pt x="561" y="44"/>
                  </a:cubicBezTo>
                  <a:cubicBezTo>
                    <a:pt x="555" y="44"/>
                    <a:pt x="555" y="44"/>
                    <a:pt x="555" y="44"/>
                  </a:cubicBezTo>
                  <a:cubicBezTo>
                    <a:pt x="554" y="44"/>
                    <a:pt x="554" y="45"/>
                    <a:pt x="554" y="46"/>
                  </a:cubicBezTo>
                  <a:cubicBezTo>
                    <a:pt x="554" y="96"/>
                    <a:pt x="554" y="96"/>
                    <a:pt x="554" y="96"/>
                  </a:cubicBezTo>
                  <a:cubicBezTo>
                    <a:pt x="554" y="110"/>
                    <a:pt x="554" y="111"/>
                    <a:pt x="563" y="112"/>
                  </a:cubicBezTo>
                  <a:cubicBezTo>
                    <a:pt x="564" y="112"/>
                    <a:pt x="564" y="112"/>
                    <a:pt x="564" y="113"/>
                  </a:cubicBezTo>
                  <a:cubicBezTo>
                    <a:pt x="564" y="117"/>
                    <a:pt x="564" y="117"/>
                    <a:pt x="564" y="117"/>
                  </a:cubicBezTo>
                  <a:cubicBezTo>
                    <a:pt x="559" y="117"/>
                    <a:pt x="552" y="117"/>
                    <a:pt x="547" y="117"/>
                  </a:cubicBezTo>
                  <a:close/>
                  <a:moveTo>
                    <a:pt x="622" y="119"/>
                  </a:moveTo>
                  <a:cubicBezTo>
                    <a:pt x="601" y="119"/>
                    <a:pt x="584" y="103"/>
                    <a:pt x="584" y="79"/>
                  </a:cubicBezTo>
                  <a:cubicBezTo>
                    <a:pt x="584" y="50"/>
                    <a:pt x="602" y="36"/>
                    <a:pt x="622" y="36"/>
                  </a:cubicBezTo>
                  <a:cubicBezTo>
                    <a:pt x="644" y="36"/>
                    <a:pt x="660" y="52"/>
                    <a:pt x="660" y="76"/>
                  </a:cubicBezTo>
                  <a:cubicBezTo>
                    <a:pt x="660" y="105"/>
                    <a:pt x="643" y="119"/>
                    <a:pt x="622" y="119"/>
                  </a:cubicBezTo>
                  <a:close/>
                  <a:moveTo>
                    <a:pt x="621" y="43"/>
                  </a:moveTo>
                  <a:cubicBezTo>
                    <a:pt x="607" y="43"/>
                    <a:pt x="600" y="54"/>
                    <a:pt x="600" y="78"/>
                  </a:cubicBezTo>
                  <a:cubicBezTo>
                    <a:pt x="600" y="103"/>
                    <a:pt x="609" y="112"/>
                    <a:pt x="623" y="112"/>
                  </a:cubicBezTo>
                  <a:cubicBezTo>
                    <a:pt x="638" y="112"/>
                    <a:pt x="645" y="101"/>
                    <a:pt x="645" y="77"/>
                  </a:cubicBezTo>
                  <a:cubicBezTo>
                    <a:pt x="645" y="52"/>
                    <a:pt x="635" y="43"/>
                    <a:pt x="621" y="43"/>
                  </a:cubicBezTo>
                  <a:close/>
                  <a:moveTo>
                    <a:pt x="729" y="119"/>
                  </a:moveTo>
                  <a:cubicBezTo>
                    <a:pt x="727" y="115"/>
                    <a:pt x="724" y="111"/>
                    <a:pt x="721" y="107"/>
                  </a:cubicBezTo>
                  <a:cubicBezTo>
                    <a:pt x="684" y="53"/>
                    <a:pt x="684" y="53"/>
                    <a:pt x="684" y="53"/>
                  </a:cubicBezTo>
                  <a:cubicBezTo>
                    <a:pt x="683" y="53"/>
                    <a:pt x="683" y="53"/>
                    <a:pt x="683" y="53"/>
                  </a:cubicBezTo>
                  <a:cubicBezTo>
                    <a:pt x="683" y="84"/>
                    <a:pt x="683" y="84"/>
                    <a:pt x="683" y="84"/>
                  </a:cubicBezTo>
                  <a:cubicBezTo>
                    <a:pt x="683" y="108"/>
                    <a:pt x="683" y="111"/>
                    <a:pt x="697" y="112"/>
                  </a:cubicBezTo>
                  <a:cubicBezTo>
                    <a:pt x="698" y="112"/>
                    <a:pt x="698" y="112"/>
                    <a:pt x="698" y="113"/>
                  </a:cubicBezTo>
                  <a:cubicBezTo>
                    <a:pt x="698" y="117"/>
                    <a:pt x="698" y="117"/>
                    <a:pt x="698" y="117"/>
                  </a:cubicBezTo>
                  <a:cubicBezTo>
                    <a:pt x="693" y="117"/>
                    <a:pt x="685" y="117"/>
                    <a:pt x="679" y="117"/>
                  </a:cubicBezTo>
                  <a:cubicBezTo>
                    <a:pt x="673" y="117"/>
                    <a:pt x="669" y="117"/>
                    <a:pt x="664" y="117"/>
                  </a:cubicBezTo>
                  <a:cubicBezTo>
                    <a:pt x="664" y="113"/>
                    <a:pt x="664" y="113"/>
                    <a:pt x="664" y="113"/>
                  </a:cubicBezTo>
                  <a:cubicBezTo>
                    <a:pt x="664" y="112"/>
                    <a:pt x="664" y="112"/>
                    <a:pt x="665" y="112"/>
                  </a:cubicBezTo>
                  <a:cubicBezTo>
                    <a:pt x="675" y="111"/>
                    <a:pt x="675" y="108"/>
                    <a:pt x="675" y="84"/>
                  </a:cubicBezTo>
                  <a:cubicBezTo>
                    <a:pt x="675" y="59"/>
                    <a:pt x="675" y="59"/>
                    <a:pt x="675" y="59"/>
                  </a:cubicBezTo>
                  <a:cubicBezTo>
                    <a:pt x="675" y="45"/>
                    <a:pt x="675" y="44"/>
                    <a:pt x="665" y="43"/>
                  </a:cubicBezTo>
                  <a:cubicBezTo>
                    <a:pt x="664" y="43"/>
                    <a:pt x="664" y="43"/>
                    <a:pt x="664" y="42"/>
                  </a:cubicBezTo>
                  <a:cubicBezTo>
                    <a:pt x="664" y="38"/>
                    <a:pt x="664" y="38"/>
                    <a:pt x="664" y="38"/>
                  </a:cubicBezTo>
                  <a:cubicBezTo>
                    <a:pt x="668" y="38"/>
                    <a:pt x="675" y="38"/>
                    <a:pt x="678" y="38"/>
                  </a:cubicBezTo>
                  <a:cubicBezTo>
                    <a:pt x="683" y="38"/>
                    <a:pt x="687" y="38"/>
                    <a:pt x="690" y="38"/>
                  </a:cubicBezTo>
                  <a:cubicBezTo>
                    <a:pt x="730" y="96"/>
                    <a:pt x="730" y="96"/>
                    <a:pt x="730" y="96"/>
                  </a:cubicBezTo>
                  <a:cubicBezTo>
                    <a:pt x="731" y="96"/>
                    <a:pt x="731" y="96"/>
                    <a:pt x="731" y="96"/>
                  </a:cubicBezTo>
                  <a:cubicBezTo>
                    <a:pt x="731" y="71"/>
                    <a:pt x="731" y="71"/>
                    <a:pt x="731" y="71"/>
                  </a:cubicBezTo>
                  <a:cubicBezTo>
                    <a:pt x="731" y="47"/>
                    <a:pt x="730" y="44"/>
                    <a:pt x="716" y="43"/>
                  </a:cubicBezTo>
                  <a:cubicBezTo>
                    <a:pt x="716" y="43"/>
                    <a:pt x="716" y="43"/>
                    <a:pt x="716" y="42"/>
                  </a:cubicBezTo>
                  <a:cubicBezTo>
                    <a:pt x="716" y="38"/>
                    <a:pt x="716" y="38"/>
                    <a:pt x="716" y="38"/>
                  </a:cubicBezTo>
                  <a:cubicBezTo>
                    <a:pt x="721" y="38"/>
                    <a:pt x="729" y="38"/>
                    <a:pt x="735" y="38"/>
                  </a:cubicBezTo>
                  <a:cubicBezTo>
                    <a:pt x="740" y="38"/>
                    <a:pt x="744" y="38"/>
                    <a:pt x="750" y="38"/>
                  </a:cubicBezTo>
                  <a:cubicBezTo>
                    <a:pt x="750" y="42"/>
                    <a:pt x="750" y="42"/>
                    <a:pt x="750" y="42"/>
                  </a:cubicBezTo>
                  <a:cubicBezTo>
                    <a:pt x="750" y="43"/>
                    <a:pt x="750" y="43"/>
                    <a:pt x="749" y="43"/>
                  </a:cubicBezTo>
                  <a:cubicBezTo>
                    <a:pt x="739" y="44"/>
                    <a:pt x="739" y="47"/>
                    <a:pt x="739" y="71"/>
                  </a:cubicBezTo>
                  <a:cubicBezTo>
                    <a:pt x="739" y="119"/>
                    <a:pt x="739" y="119"/>
                    <a:pt x="739" y="119"/>
                  </a:cubicBezTo>
                  <a:lnTo>
                    <a:pt x="729" y="119"/>
                  </a:lnTo>
                  <a:close/>
                  <a:moveTo>
                    <a:pt x="921" y="119"/>
                  </a:moveTo>
                  <a:cubicBezTo>
                    <a:pt x="900" y="119"/>
                    <a:pt x="883" y="103"/>
                    <a:pt x="883" y="79"/>
                  </a:cubicBezTo>
                  <a:cubicBezTo>
                    <a:pt x="883" y="50"/>
                    <a:pt x="901" y="36"/>
                    <a:pt x="921" y="36"/>
                  </a:cubicBezTo>
                  <a:cubicBezTo>
                    <a:pt x="943" y="36"/>
                    <a:pt x="960" y="52"/>
                    <a:pt x="960" y="76"/>
                  </a:cubicBezTo>
                  <a:cubicBezTo>
                    <a:pt x="960" y="105"/>
                    <a:pt x="942" y="119"/>
                    <a:pt x="921" y="119"/>
                  </a:cubicBezTo>
                  <a:close/>
                  <a:moveTo>
                    <a:pt x="920" y="43"/>
                  </a:moveTo>
                  <a:cubicBezTo>
                    <a:pt x="906" y="43"/>
                    <a:pt x="899" y="54"/>
                    <a:pt x="899" y="78"/>
                  </a:cubicBezTo>
                  <a:cubicBezTo>
                    <a:pt x="899" y="103"/>
                    <a:pt x="908" y="112"/>
                    <a:pt x="922" y="112"/>
                  </a:cubicBezTo>
                  <a:cubicBezTo>
                    <a:pt x="937" y="112"/>
                    <a:pt x="944" y="101"/>
                    <a:pt x="944" y="77"/>
                  </a:cubicBezTo>
                  <a:cubicBezTo>
                    <a:pt x="944" y="52"/>
                    <a:pt x="935" y="43"/>
                    <a:pt x="920" y="43"/>
                  </a:cubicBezTo>
                  <a:close/>
                  <a:moveTo>
                    <a:pt x="1029" y="119"/>
                  </a:moveTo>
                  <a:cubicBezTo>
                    <a:pt x="1026" y="115"/>
                    <a:pt x="1023" y="111"/>
                    <a:pt x="1020" y="107"/>
                  </a:cubicBezTo>
                  <a:cubicBezTo>
                    <a:pt x="983" y="53"/>
                    <a:pt x="983" y="53"/>
                    <a:pt x="983" y="53"/>
                  </a:cubicBezTo>
                  <a:cubicBezTo>
                    <a:pt x="982" y="53"/>
                    <a:pt x="982" y="53"/>
                    <a:pt x="982" y="53"/>
                  </a:cubicBezTo>
                  <a:cubicBezTo>
                    <a:pt x="982" y="84"/>
                    <a:pt x="982" y="84"/>
                    <a:pt x="982" y="84"/>
                  </a:cubicBezTo>
                  <a:cubicBezTo>
                    <a:pt x="982" y="108"/>
                    <a:pt x="983" y="111"/>
                    <a:pt x="996" y="112"/>
                  </a:cubicBezTo>
                  <a:cubicBezTo>
                    <a:pt x="997" y="112"/>
                    <a:pt x="997" y="112"/>
                    <a:pt x="997" y="113"/>
                  </a:cubicBezTo>
                  <a:cubicBezTo>
                    <a:pt x="997" y="117"/>
                    <a:pt x="997" y="117"/>
                    <a:pt x="997" y="117"/>
                  </a:cubicBezTo>
                  <a:cubicBezTo>
                    <a:pt x="992" y="117"/>
                    <a:pt x="984" y="117"/>
                    <a:pt x="978" y="117"/>
                  </a:cubicBezTo>
                  <a:cubicBezTo>
                    <a:pt x="972" y="117"/>
                    <a:pt x="969" y="117"/>
                    <a:pt x="963" y="117"/>
                  </a:cubicBezTo>
                  <a:cubicBezTo>
                    <a:pt x="963" y="113"/>
                    <a:pt x="963" y="113"/>
                    <a:pt x="963" y="113"/>
                  </a:cubicBezTo>
                  <a:cubicBezTo>
                    <a:pt x="963" y="112"/>
                    <a:pt x="963" y="112"/>
                    <a:pt x="964" y="112"/>
                  </a:cubicBezTo>
                  <a:cubicBezTo>
                    <a:pt x="974" y="111"/>
                    <a:pt x="974" y="108"/>
                    <a:pt x="974" y="84"/>
                  </a:cubicBezTo>
                  <a:cubicBezTo>
                    <a:pt x="974" y="59"/>
                    <a:pt x="974" y="59"/>
                    <a:pt x="974" y="59"/>
                  </a:cubicBezTo>
                  <a:cubicBezTo>
                    <a:pt x="974" y="45"/>
                    <a:pt x="974" y="44"/>
                    <a:pt x="964" y="43"/>
                  </a:cubicBezTo>
                  <a:cubicBezTo>
                    <a:pt x="963" y="43"/>
                    <a:pt x="963" y="43"/>
                    <a:pt x="963" y="42"/>
                  </a:cubicBezTo>
                  <a:cubicBezTo>
                    <a:pt x="963" y="38"/>
                    <a:pt x="963" y="38"/>
                    <a:pt x="963" y="38"/>
                  </a:cubicBezTo>
                  <a:cubicBezTo>
                    <a:pt x="968" y="38"/>
                    <a:pt x="974" y="38"/>
                    <a:pt x="977" y="38"/>
                  </a:cubicBezTo>
                  <a:cubicBezTo>
                    <a:pt x="982" y="38"/>
                    <a:pt x="986" y="38"/>
                    <a:pt x="989" y="38"/>
                  </a:cubicBezTo>
                  <a:cubicBezTo>
                    <a:pt x="1029" y="96"/>
                    <a:pt x="1029" y="96"/>
                    <a:pt x="1029" y="96"/>
                  </a:cubicBezTo>
                  <a:cubicBezTo>
                    <a:pt x="1030" y="96"/>
                    <a:pt x="1030" y="96"/>
                    <a:pt x="1030" y="96"/>
                  </a:cubicBezTo>
                  <a:cubicBezTo>
                    <a:pt x="1030" y="71"/>
                    <a:pt x="1030" y="71"/>
                    <a:pt x="1030" y="71"/>
                  </a:cubicBezTo>
                  <a:cubicBezTo>
                    <a:pt x="1030" y="47"/>
                    <a:pt x="1030" y="44"/>
                    <a:pt x="1016" y="43"/>
                  </a:cubicBezTo>
                  <a:cubicBezTo>
                    <a:pt x="1015" y="43"/>
                    <a:pt x="1015" y="43"/>
                    <a:pt x="1015" y="42"/>
                  </a:cubicBezTo>
                  <a:cubicBezTo>
                    <a:pt x="1015" y="38"/>
                    <a:pt x="1015" y="38"/>
                    <a:pt x="1015" y="38"/>
                  </a:cubicBezTo>
                  <a:cubicBezTo>
                    <a:pt x="1020" y="38"/>
                    <a:pt x="1028" y="38"/>
                    <a:pt x="1034" y="38"/>
                  </a:cubicBezTo>
                  <a:cubicBezTo>
                    <a:pt x="1040" y="38"/>
                    <a:pt x="1044" y="38"/>
                    <a:pt x="1049" y="38"/>
                  </a:cubicBezTo>
                  <a:cubicBezTo>
                    <a:pt x="1049" y="42"/>
                    <a:pt x="1049" y="42"/>
                    <a:pt x="1049" y="42"/>
                  </a:cubicBezTo>
                  <a:cubicBezTo>
                    <a:pt x="1049" y="43"/>
                    <a:pt x="1049" y="43"/>
                    <a:pt x="1048" y="43"/>
                  </a:cubicBezTo>
                  <a:cubicBezTo>
                    <a:pt x="1038" y="44"/>
                    <a:pt x="1038" y="47"/>
                    <a:pt x="1038" y="71"/>
                  </a:cubicBezTo>
                  <a:cubicBezTo>
                    <a:pt x="1038" y="119"/>
                    <a:pt x="1038" y="119"/>
                    <a:pt x="1038" y="119"/>
                  </a:cubicBezTo>
                  <a:lnTo>
                    <a:pt x="1029" y="119"/>
                  </a:lnTo>
                  <a:close/>
                  <a:moveTo>
                    <a:pt x="1062" y="115"/>
                  </a:moveTo>
                  <a:cubicBezTo>
                    <a:pt x="1060" y="117"/>
                    <a:pt x="1060" y="117"/>
                    <a:pt x="1060" y="117"/>
                  </a:cubicBezTo>
                  <a:cubicBezTo>
                    <a:pt x="1060" y="118"/>
                    <a:pt x="1059" y="118"/>
                    <a:pt x="1059" y="118"/>
                  </a:cubicBezTo>
                  <a:cubicBezTo>
                    <a:pt x="1056" y="118"/>
                    <a:pt x="1056" y="118"/>
                    <a:pt x="1056" y="118"/>
                  </a:cubicBezTo>
                  <a:cubicBezTo>
                    <a:pt x="1056" y="113"/>
                    <a:pt x="1056" y="98"/>
                    <a:pt x="1056" y="93"/>
                  </a:cubicBezTo>
                  <a:cubicBezTo>
                    <a:pt x="1060" y="93"/>
                    <a:pt x="1060" y="93"/>
                    <a:pt x="1060" y="93"/>
                  </a:cubicBezTo>
                  <a:cubicBezTo>
                    <a:pt x="1060" y="93"/>
                    <a:pt x="1061" y="93"/>
                    <a:pt x="1061" y="93"/>
                  </a:cubicBezTo>
                  <a:cubicBezTo>
                    <a:pt x="1063" y="106"/>
                    <a:pt x="1069" y="112"/>
                    <a:pt x="1080" y="112"/>
                  </a:cubicBezTo>
                  <a:cubicBezTo>
                    <a:pt x="1090" y="112"/>
                    <a:pt x="1097" y="108"/>
                    <a:pt x="1097" y="101"/>
                  </a:cubicBezTo>
                  <a:cubicBezTo>
                    <a:pt x="1097" y="79"/>
                    <a:pt x="1056" y="86"/>
                    <a:pt x="1056" y="59"/>
                  </a:cubicBezTo>
                  <a:cubicBezTo>
                    <a:pt x="1056" y="45"/>
                    <a:pt x="1066" y="36"/>
                    <a:pt x="1080" y="36"/>
                  </a:cubicBezTo>
                  <a:cubicBezTo>
                    <a:pt x="1085" y="36"/>
                    <a:pt x="1091" y="37"/>
                    <a:pt x="1096" y="40"/>
                  </a:cubicBezTo>
                  <a:cubicBezTo>
                    <a:pt x="1098" y="38"/>
                    <a:pt x="1098" y="38"/>
                    <a:pt x="1098" y="38"/>
                  </a:cubicBezTo>
                  <a:cubicBezTo>
                    <a:pt x="1098" y="37"/>
                    <a:pt x="1099" y="37"/>
                    <a:pt x="1100" y="37"/>
                  </a:cubicBezTo>
                  <a:cubicBezTo>
                    <a:pt x="1102" y="37"/>
                    <a:pt x="1102" y="37"/>
                    <a:pt x="1102" y="37"/>
                  </a:cubicBezTo>
                  <a:cubicBezTo>
                    <a:pt x="1102" y="42"/>
                    <a:pt x="1102" y="54"/>
                    <a:pt x="1102" y="59"/>
                  </a:cubicBezTo>
                  <a:cubicBezTo>
                    <a:pt x="1099" y="59"/>
                    <a:pt x="1099" y="59"/>
                    <a:pt x="1099" y="59"/>
                  </a:cubicBezTo>
                  <a:cubicBezTo>
                    <a:pt x="1098" y="59"/>
                    <a:pt x="1098" y="59"/>
                    <a:pt x="1098" y="58"/>
                  </a:cubicBezTo>
                  <a:cubicBezTo>
                    <a:pt x="1096" y="50"/>
                    <a:pt x="1090" y="43"/>
                    <a:pt x="1080" y="43"/>
                  </a:cubicBezTo>
                  <a:cubicBezTo>
                    <a:pt x="1071" y="43"/>
                    <a:pt x="1068" y="48"/>
                    <a:pt x="1068" y="53"/>
                  </a:cubicBezTo>
                  <a:cubicBezTo>
                    <a:pt x="1068" y="74"/>
                    <a:pt x="1109" y="67"/>
                    <a:pt x="1109" y="94"/>
                  </a:cubicBezTo>
                  <a:cubicBezTo>
                    <a:pt x="1109" y="111"/>
                    <a:pt x="1094" y="119"/>
                    <a:pt x="1081" y="119"/>
                  </a:cubicBezTo>
                  <a:cubicBezTo>
                    <a:pt x="1072" y="119"/>
                    <a:pt x="1067" y="117"/>
                    <a:pt x="1062" y="115"/>
                  </a:cubicBezTo>
                  <a:close/>
                  <a:moveTo>
                    <a:pt x="1155" y="119"/>
                  </a:moveTo>
                  <a:cubicBezTo>
                    <a:pt x="1132" y="119"/>
                    <a:pt x="1122" y="110"/>
                    <a:pt x="1122" y="89"/>
                  </a:cubicBezTo>
                  <a:cubicBezTo>
                    <a:pt x="1122" y="59"/>
                    <a:pt x="1122" y="59"/>
                    <a:pt x="1122" y="59"/>
                  </a:cubicBezTo>
                  <a:cubicBezTo>
                    <a:pt x="1122" y="45"/>
                    <a:pt x="1122" y="44"/>
                    <a:pt x="1113" y="43"/>
                  </a:cubicBezTo>
                  <a:cubicBezTo>
                    <a:pt x="1112" y="43"/>
                    <a:pt x="1111" y="43"/>
                    <a:pt x="1111" y="42"/>
                  </a:cubicBezTo>
                  <a:cubicBezTo>
                    <a:pt x="1111" y="38"/>
                    <a:pt x="1111" y="38"/>
                    <a:pt x="1111" y="38"/>
                  </a:cubicBezTo>
                  <a:cubicBezTo>
                    <a:pt x="1117" y="38"/>
                    <a:pt x="1124" y="38"/>
                    <a:pt x="1129" y="38"/>
                  </a:cubicBezTo>
                  <a:cubicBezTo>
                    <a:pt x="1135" y="38"/>
                    <a:pt x="1142" y="38"/>
                    <a:pt x="1147" y="38"/>
                  </a:cubicBezTo>
                  <a:cubicBezTo>
                    <a:pt x="1147" y="42"/>
                    <a:pt x="1147" y="42"/>
                    <a:pt x="1147" y="42"/>
                  </a:cubicBezTo>
                  <a:cubicBezTo>
                    <a:pt x="1147" y="43"/>
                    <a:pt x="1147" y="43"/>
                    <a:pt x="1146" y="43"/>
                  </a:cubicBezTo>
                  <a:cubicBezTo>
                    <a:pt x="1136" y="44"/>
                    <a:pt x="1136" y="45"/>
                    <a:pt x="1136" y="59"/>
                  </a:cubicBezTo>
                  <a:cubicBezTo>
                    <a:pt x="1136" y="91"/>
                    <a:pt x="1136" y="91"/>
                    <a:pt x="1136" y="91"/>
                  </a:cubicBezTo>
                  <a:cubicBezTo>
                    <a:pt x="1136" y="103"/>
                    <a:pt x="1142" y="110"/>
                    <a:pt x="1157" y="110"/>
                  </a:cubicBezTo>
                  <a:cubicBezTo>
                    <a:pt x="1170" y="110"/>
                    <a:pt x="1177" y="103"/>
                    <a:pt x="1177" y="90"/>
                  </a:cubicBezTo>
                  <a:cubicBezTo>
                    <a:pt x="1177" y="71"/>
                    <a:pt x="1177" y="71"/>
                    <a:pt x="1177" y="71"/>
                  </a:cubicBezTo>
                  <a:cubicBezTo>
                    <a:pt x="1177" y="46"/>
                    <a:pt x="1177" y="45"/>
                    <a:pt x="1163" y="43"/>
                  </a:cubicBezTo>
                  <a:cubicBezTo>
                    <a:pt x="1162" y="43"/>
                    <a:pt x="1162" y="43"/>
                    <a:pt x="1162" y="42"/>
                  </a:cubicBezTo>
                  <a:cubicBezTo>
                    <a:pt x="1162" y="38"/>
                    <a:pt x="1162" y="38"/>
                    <a:pt x="1162" y="38"/>
                  </a:cubicBezTo>
                  <a:cubicBezTo>
                    <a:pt x="1167" y="38"/>
                    <a:pt x="1175" y="38"/>
                    <a:pt x="1181" y="38"/>
                  </a:cubicBezTo>
                  <a:cubicBezTo>
                    <a:pt x="1186" y="38"/>
                    <a:pt x="1189" y="38"/>
                    <a:pt x="1194" y="38"/>
                  </a:cubicBezTo>
                  <a:cubicBezTo>
                    <a:pt x="1194" y="42"/>
                    <a:pt x="1194" y="42"/>
                    <a:pt x="1194" y="42"/>
                  </a:cubicBezTo>
                  <a:cubicBezTo>
                    <a:pt x="1194" y="43"/>
                    <a:pt x="1194" y="43"/>
                    <a:pt x="1193" y="43"/>
                  </a:cubicBezTo>
                  <a:cubicBezTo>
                    <a:pt x="1185" y="44"/>
                    <a:pt x="1185" y="46"/>
                    <a:pt x="1185" y="71"/>
                  </a:cubicBezTo>
                  <a:cubicBezTo>
                    <a:pt x="1185" y="88"/>
                    <a:pt x="1185" y="88"/>
                    <a:pt x="1185" y="88"/>
                  </a:cubicBezTo>
                  <a:cubicBezTo>
                    <a:pt x="1185" y="109"/>
                    <a:pt x="1175" y="119"/>
                    <a:pt x="1155" y="119"/>
                  </a:cubicBezTo>
                  <a:close/>
                  <a:moveTo>
                    <a:pt x="1243" y="117"/>
                  </a:moveTo>
                  <a:cubicBezTo>
                    <a:pt x="1216" y="117"/>
                    <a:pt x="1216" y="117"/>
                    <a:pt x="1216" y="117"/>
                  </a:cubicBezTo>
                  <a:cubicBezTo>
                    <a:pt x="1211" y="117"/>
                    <a:pt x="1205" y="117"/>
                    <a:pt x="1199" y="117"/>
                  </a:cubicBezTo>
                  <a:cubicBezTo>
                    <a:pt x="1199" y="113"/>
                    <a:pt x="1199" y="113"/>
                    <a:pt x="1199" y="113"/>
                  </a:cubicBezTo>
                  <a:cubicBezTo>
                    <a:pt x="1199" y="112"/>
                    <a:pt x="1199" y="112"/>
                    <a:pt x="1200" y="112"/>
                  </a:cubicBezTo>
                  <a:cubicBezTo>
                    <a:pt x="1210" y="111"/>
                    <a:pt x="1210" y="110"/>
                    <a:pt x="1210" y="96"/>
                  </a:cubicBezTo>
                  <a:cubicBezTo>
                    <a:pt x="1210" y="59"/>
                    <a:pt x="1210" y="59"/>
                    <a:pt x="1210" y="59"/>
                  </a:cubicBezTo>
                  <a:cubicBezTo>
                    <a:pt x="1210" y="45"/>
                    <a:pt x="1210" y="44"/>
                    <a:pt x="1200" y="43"/>
                  </a:cubicBezTo>
                  <a:cubicBezTo>
                    <a:pt x="1199" y="43"/>
                    <a:pt x="1199" y="43"/>
                    <a:pt x="1199" y="42"/>
                  </a:cubicBezTo>
                  <a:cubicBezTo>
                    <a:pt x="1199" y="38"/>
                    <a:pt x="1199" y="38"/>
                    <a:pt x="1199" y="38"/>
                  </a:cubicBezTo>
                  <a:cubicBezTo>
                    <a:pt x="1205" y="38"/>
                    <a:pt x="1212" y="38"/>
                    <a:pt x="1217" y="38"/>
                  </a:cubicBezTo>
                  <a:cubicBezTo>
                    <a:pt x="1223" y="38"/>
                    <a:pt x="1232" y="38"/>
                    <a:pt x="1237" y="38"/>
                  </a:cubicBezTo>
                  <a:cubicBezTo>
                    <a:pt x="1237" y="42"/>
                    <a:pt x="1237" y="42"/>
                    <a:pt x="1237" y="42"/>
                  </a:cubicBezTo>
                  <a:cubicBezTo>
                    <a:pt x="1237" y="43"/>
                    <a:pt x="1237" y="43"/>
                    <a:pt x="1236" y="43"/>
                  </a:cubicBezTo>
                  <a:cubicBezTo>
                    <a:pt x="1224" y="44"/>
                    <a:pt x="1224" y="45"/>
                    <a:pt x="1224" y="59"/>
                  </a:cubicBezTo>
                  <a:cubicBezTo>
                    <a:pt x="1224" y="95"/>
                    <a:pt x="1224" y="95"/>
                    <a:pt x="1224" y="95"/>
                  </a:cubicBezTo>
                  <a:cubicBezTo>
                    <a:pt x="1224" y="109"/>
                    <a:pt x="1224" y="110"/>
                    <a:pt x="1235" y="110"/>
                  </a:cubicBezTo>
                  <a:cubicBezTo>
                    <a:pt x="1240" y="110"/>
                    <a:pt x="1240" y="110"/>
                    <a:pt x="1240" y="110"/>
                  </a:cubicBezTo>
                  <a:cubicBezTo>
                    <a:pt x="1250" y="110"/>
                    <a:pt x="1255" y="107"/>
                    <a:pt x="1257" y="92"/>
                  </a:cubicBezTo>
                  <a:cubicBezTo>
                    <a:pt x="1257" y="92"/>
                    <a:pt x="1257" y="91"/>
                    <a:pt x="1258" y="91"/>
                  </a:cubicBezTo>
                  <a:cubicBezTo>
                    <a:pt x="1261" y="91"/>
                    <a:pt x="1261" y="91"/>
                    <a:pt x="1261" y="91"/>
                  </a:cubicBezTo>
                  <a:cubicBezTo>
                    <a:pt x="1261" y="97"/>
                    <a:pt x="1261" y="111"/>
                    <a:pt x="1261" y="117"/>
                  </a:cubicBezTo>
                  <a:cubicBezTo>
                    <a:pt x="1256" y="117"/>
                    <a:pt x="1253" y="117"/>
                    <a:pt x="1243" y="117"/>
                  </a:cubicBezTo>
                  <a:close/>
                  <a:moveTo>
                    <a:pt x="1291" y="117"/>
                  </a:moveTo>
                  <a:cubicBezTo>
                    <a:pt x="1285" y="117"/>
                    <a:pt x="1278" y="117"/>
                    <a:pt x="1273" y="117"/>
                  </a:cubicBezTo>
                  <a:cubicBezTo>
                    <a:pt x="1273" y="113"/>
                    <a:pt x="1273" y="113"/>
                    <a:pt x="1273" y="113"/>
                  </a:cubicBezTo>
                  <a:cubicBezTo>
                    <a:pt x="1273" y="112"/>
                    <a:pt x="1273" y="112"/>
                    <a:pt x="1274" y="112"/>
                  </a:cubicBezTo>
                  <a:cubicBezTo>
                    <a:pt x="1284" y="111"/>
                    <a:pt x="1284" y="110"/>
                    <a:pt x="1284" y="96"/>
                  </a:cubicBezTo>
                  <a:cubicBezTo>
                    <a:pt x="1284" y="46"/>
                    <a:pt x="1284" y="46"/>
                    <a:pt x="1284" y="46"/>
                  </a:cubicBezTo>
                  <a:cubicBezTo>
                    <a:pt x="1284" y="45"/>
                    <a:pt x="1284" y="44"/>
                    <a:pt x="1283" y="44"/>
                  </a:cubicBezTo>
                  <a:cubicBezTo>
                    <a:pt x="1276" y="44"/>
                    <a:pt x="1276" y="44"/>
                    <a:pt x="1276" y="44"/>
                  </a:cubicBezTo>
                  <a:cubicBezTo>
                    <a:pt x="1266" y="44"/>
                    <a:pt x="1261" y="46"/>
                    <a:pt x="1260" y="61"/>
                  </a:cubicBezTo>
                  <a:cubicBezTo>
                    <a:pt x="1260" y="61"/>
                    <a:pt x="1259" y="61"/>
                    <a:pt x="1259" y="61"/>
                  </a:cubicBezTo>
                  <a:cubicBezTo>
                    <a:pt x="1255" y="61"/>
                    <a:pt x="1255" y="61"/>
                    <a:pt x="1255" y="61"/>
                  </a:cubicBezTo>
                  <a:cubicBezTo>
                    <a:pt x="1255" y="56"/>
                    <a:pt x="1255" y="44"/>
                    <a:pt x="1255" y="38"/>
                  </a:cubicBezTo>
                  <a:cubicBezTo>
                    <a:pt x="1260" y="38"/>
                    <a:pt x="1266" y="38"/>
                    <a:pt x="1276" y="38"/>
                  </a:cubicBezTo>
                  <a:cubicBezTo>
                    <a:pt x="1306" y="38"/>
                    <a:pt x="1306" y="38"/>
                    <a:pt x="1306" y="38"/>
                  </a:cubicBezTo>
                  <a:cubicBezTo>
                    <a:pt x="1316" y="38"/>
                    <a:pt x="1322" y="38"/>
                    <a:pt x="1327" y="38"/>
                  </a:cubicBezTo>
                  <a:cubicBezTo>
                    <a:pt x="1327" y="44"/>
                    <a:pt x="1327" y="56"/>
                    <a:pt x="1327" y="61"/>
                  </a:cubicBezTo>
                  <a:cubicBezTo>
                    <a:pt x="1323" y="61"/>
                    <a:pt x="1323" y="61"/>
                    <a:pt x="1323" y="61"/>
                  </a:cubicBezTo>
                  <a:cubicBezTo>
                    <a:pt x="1323" y="61"/>
                    <a:pt x="1322" y="61"/>
                    <a:pt x="1322" y="61"/>
                  </a:cubicBezTo>
                  <a:cubicBezTo>
                    <a:pt x="1320" y="46"/>
                    <a:pt x="1315" y="44"/>
                    <a:pt x="1306" y="44"/>
                  </a:cubicBezTo>
                  <a:cubicBezTo>
                    <a:pt x="1299" y="44"/>
                    <a:pt x="1299" y="44"/>
                    <a:pt x="1299" y="44"/>
                  </a:cubicBezTo>
                  <a:cubicBezTo>
                    <a:pt x="1298" y="44"/>
                    <a:pt x="1298" y="45"/>
                    <a:pt x="1298" y="46"/>
                  </a:cubicBezTo>
                  <a:cubicBezTo>
                    <a:pt x="1298" y="96"/>
                    <a:pt x="1298" y="96"/>
                    <a:pt x="1298" y="96"/>
                  </a:cubicBezTo>
                  <a:cubicBezTo>
                    <a:pt x="1298" y="110"/>
                    <a:pt x="1298" y="111"/>
                    <a:pt x="1308" y="112"/>
                  </a:cubicBezTo>
                  <a:cubicBezTo>
                    <a:pt x="1309" y="112"/>
                    <a:pt x="1309" y="112"/>
                    <a:pt x="1309" y="113"/>
                  </a:cubicBezTo>
                  <a:cubicBezTo>
                    <a:pt x="1309" y="117"/>
                    <a:pt x="1309" y="117"/>
                    <a:pt x="1309" y="117"/>
                  </a:cubicBezTo>
                  <a:cubicBezTo>
                    <a:pt x="1303" y="117"/>
                    <a:pt x="1296" y="117"/>
                    <a:pt x="1291" y="117"/>
                  </a:cubicBezTo>
                  <a:close/>
                  <a:moveTo>
                    <a:pt x="1349" y="117"/>
                  </a:moveTo>
                  <a:cubicBezTo>
                    <a:pt x="1343" y="117"/>
                    <a:pt x="1336" y="117"/>
                    <a:pt x="1331" y="117"/>
                  </a:cubicBezTo>
                  <a:cubicBezTo>
                    <a:pt x="1331" y="113"/>
                    <a:pt x="1331" y="113"/>
                    <a:pt x="1331" y="113"/>
                  </a:cubicBezTo>
                  <a:cubicBezTo>
                    <a:pt x="1331" y="112"/>
                    <a:pt x="1331" y="112"/>
                    <a:pt x="1332" y="112"/>
                  </a:cubicBezTo>
                  <a:cubicBezTo>
                    <a:pt x="1342" y="111"/>
                    <a:pt x="1342" y="110"/>
                    <a:pt x="1342" y="96"/>
                  </a:cubicBezTo>
                  <a:cubicBezTo>
                    <a:pt x="1342" y="59"/>
                    <a:pt x="1342" y="59"/>
                    <a:pt x="1342" y="59"/>
                  </a:cubicBezTo>
                  <a:cubicBezTo>
                    <a:pt x="1342" y="45"/>
                    <a:pt x="1342" y="44"/>
                    <a:pt x="1332" y="43"/>
                  </a:cubicBezTo>
                  <a:cubicBezTo>
                    <a:pt x="1331" y="43"/>
                    <a:pt x="1331" y="43"/>
                    <a:pt x="1331" y="42"/>
                  </a:cubicBezTo>
                  <a:cubicBezTo>
                    <a:pt x="1331" y="38"/>
                    <a:pt x="1331" y="38"/>
                    <a:pt x="1331" y="38"/>
                  </a:cubicBezTo>
                  <a:cubicBezTo>
                    <a:pt x="1336" y="38"/>
                    <a:pt x="1343" y="38"/>
                    <a:pt x="1349" y="38"/>
                  </a:cubicBezTo>
                  <a:cubicBezTo>
                    <a:pt x="1355" y="38"/>
                    <a:pt x="1361" y="38"/>
                    <a:pt x="1367" y="38"/>
                  </a:cubicBezTo>
                  <a:cubicBezTo>
                    <a:pt x="1367" y="42"/>
                    <a:pt x="1367" y="42"/>
                    <a:pt x="1367" y="42"/>
                  </a:cubicBezTo>
                  <a:cubicBezTo>
                    <a:pt x="1367" y="43"/>
                    <a:pt x="1367" y="43"/>
                    <a:pt x="1366" y="43"/>
                  </a:cubicBezTo>
                  <a:cubicBezTo>
                    <a:pt x="1356" y="44"/>
                    <a:pt x="1356" y="45"/>
                    <a:pt x="1356" y="59"/>
                  </a:cubicBezTo>
                  <a:cubicBezTo>
                    <a:pt x="1356" y="96"/>
                    <a:pt x="1356" y="96"/>
                    <a:pt x="1356" y="96"/>
                  </a:cubicBezTo>
                  <a:cubicBezTo>
                    <a:pt x="1356" y="110"/>
                    <a:pt x="1356" y="111"/>
                    <a:pt x="1366" y="112"/>
                  </a:cubicBezTo>
                  <a:cubicBezTo>
                    <a:pt x="1367" y="112"/>
                    <a:pt x="1367" y="112"/>
                    <a:pt x="1367" y="113"/>
                  </a:cubicBezTo>
                  <a:cubicBezTo>
                    <a:pt x="1367" y="117"/>
                    <a:pt x="1367" y="117"/>
                    <a:pt x="1367" y="117"/>
                  </a:cubicBezTo>
                  <a:cubicBezTo>
                    <a:pt x="1361" y="117"/>
                    <a:pt x="1354" y="117"/>
                    <a:pt x="1349" y="117"/>
                  </a:cubicBezTo>
                  <a:close/>
                  <a:moveTo>
                    <a:pt x="1438" y="119"/>
                  </a:moveTo>
                  <a:cubicBezTo>
                    <a:pt x="1436" y="115"/>
                    <a:pt x="1433" y="111"/>
                    <a:pt x="1430" y="107"/>
                  </a:cubicBezTo>
                  <a:cubicBezTo>
                    <a:pt x="1392" y="53"/>
                    <a:pt x="1392" y="53"/>
                    <a:pt x="1392" y="53"/>
                  </a:cubicBezTo>
                  <a:cubicBezTo>
                    <a:pt x="1392" y="53"/>
                    <a:pt x="1392" y="53"/>
                    <a:pt x="1392" y="53"/>
                  </a:cubicBezTo>
                  <a:cubicBezTo>
                    <a:pt x="1392" y="84"/>
                    <a:pt x="1392" y="84"/>
                    <a:pt x="1392" y="84"/>
                  </a:cubicBezTo>
                  <a:cubicBezTo>
                    <a:pt x="1392" y="108"/>
                    <a:pt x="1392" y="111"/>
                    <a:pt x="1406" y="112"/>
                  </a:cubicBezTo>
                  <a:cubicBezTo>
                    <a:pt x="1406" y="112"/>
                    <a:pt x="1407" y="112"/>
                    <a:pt x="1407" y="113"/>
                  </a:cubicBezTo>
                  <a:cubicBezTo>
                    <a:pt x="1407" y="117"/>
                    <a:pt x="1407" y="117"/>
                    <a:pt x="1407" y="117"/>
                  </a:cubicBezTo>
                  <a:cubicBezTo>
                    <a:pt x="1401" y="117"/>
                    <a:pt x="1393" y="117"/>
                    <a:pt x="1387" y="117"/>
                  </a:cubicBezTo>
                  <a:cubicBezTo>
                    <a:pt x="1382" y="117"/>
                    <a:pt x="1378" y="117"/>
                    <a:pt x="1373" y="117"/>
                  </a:cubicBezTo>
                  <a:cubicBezTo>
                    <a:pt x="1373" y="113"/>
                    <a:pt x="1373" y="113"/>
                    <a:pt x="1373" y="113"/>
                  </a:cubicBezTo>
                  <a:cubicBezTo>
                    <a:pt x="1373" y="112"/>
                    <a:pt x="1373" y="112"/>
                    <a:pt x="1374" y="112"/>
                  </a:cubicBezTo>
                  <a:cubicBezTo>
                    <a:pt x="1383" y="111"/>
                    <a:pt x="1383" y="108"/>
                    <a:pt x="1383" y="84"/>
                  </a:cubicBezTo>
                  <a:cubicBezTo>
                    <a:pt x="1383" y="59"/>
                    <a:pt x="1383" y="59"/>
                    <a:pt x="1383" y="59"/>
                  </a:cubicBezTo>
                  <a:cubicBezTo>
                    <a:pt x="1383" y="45"/>
                    <a:pt x="1383" y="44"/>
                    <a:pt x="1374" y="43"/>
                  </a:cubicBezTo>
                  <a:cubicBezTo>
                    <a:pt x="1373" y="43"/>
                    <a:pt x="1373" y="43"/>
                    <a:pt x="1373" y="42"/>
                  </a:cubicBezTo>
                  <a:cubicBezTo>
                    <a:pt x="1373" y="38"/>
                    <a:pt x="1373" y="38"/>
                    <a:pt x="1373" y="38"/>
                  </a:cubicBezTo>
                  <a:cubicBezTo>
                    <a:pt x="1377" y="38"/>
                    <a:pt x="1384" y="38"/>
                    <a:pt x="1386" y="38"/>
                  </a:cubicBezTo>
                  <a:cubicBezTo>
                    <a:pt x="1391" y="38"/>
                    <a:pt x="1396" y="38"/>
                    <a:pt x="1399" y="38"/>
                  </a:cubicBezTo>
                  <a:cubicBezTo>
                    <a:pt x="1439" y="96"/>
                    <a:pt x="1439" y="96"/>
                    <a:pt x="1439" y="96"/>
                  </a:cubicBezTo>
                  <a:cubicBezTo>
                    <a:pt x="1439" y="71"/>
                    <a:pt x="1439" y="71"/>
                    <a:pt x="1439" y="71"/>
                  </a:cubicBezTo>
                  <a:cubicBezTo>
                    <a:pt x="1439" y="47"/>
                    <a:pt x="1439" y="44"/>
                    <a:pt x="1425" y="43"/>
                  </a:cubicBezTo>
                  <a:cubicBezTo>
                    <a:pt x="1424" y="43"/>
                    <a:pt x="1424" y="43"/>
                    <a:pt x="1424" y="42"/>
                  </a:cubicBezTo>
                  <a:cubicBezTo>
                    <a:pt x="1424" y="38"/>
                    <a:pt x="1424" y="38"/>
                    <a:pt x="1424" y="38"/>
                  </a:cubicBezTo>
                  <a:cubicBezTo>
                    <a:pt x="1430" y="38"/>
                    <a:pt x="1438" y="38"/>
                    <a:pt x="1443" y="38"/>
                  </a:cubicBezTo>
                  <a:cubicBezTo>
                    <a:pt x="1449" y="38"/>
                    <a:pt x="1453" y="38"/>
                    <a:pt x="1458" y="38"/>
                  </a:cubicBezTo>
                  <a:cubicBezTo>
                    <a:pt x="1458" y="42"/>
                    <a:pt x="1458" y="42"/>
                    <a:pt x="1458" y="42"/>
                  </a:cubicBezTo>
                  <a:cubicBezTo>
                    <a:pt x="1458" y="43"/>
                    <a:pt x="1458" y="43"/>
                    <a:pt x="1458" y="43"/>
                  </a:cubicBezTo>
                  <a:cubicBezTo>
                    <a:pt x="1448" y="44"/>
                    <a:pt x="1447" y="47"/>
                    <a:pt x="1447" y="71"/>
                  </a:cubicBezTo>
                  <a:cubicBezTo>
                    <a:pt x="1447" y="119"/>
                    <a:pt x="1447" y="119"/>
                    <a:pt x="1447" y="119"/>
                  </a:cubicBezTo>
                  <a:lnTo>
                    <a:pt x="1438" y="119"/>
                  </a:lnTo>
                  <a:close/>
                  <a:moveTo>
                    <a:pt x="1537" y="86"/>
                  </a:moveTo>
                  <a:cubicBezTo>
                    <a:pt x="1537" y="87"/>
                    <a:pt x="1537" y="87"/>
                    <a:pt x="1536" y="87"/>
                  </a:cubicBezTo>
                  <a:cubicBezTo>
                    <a:pt x="1529" y="89"/>
                    <a:pt x="1529" y="89"/>
                    <a:pt x="1529" y="99"/>
                  </a:cubicBezTo>
                  <a:cubicBezTo>
                    <a:pt x="1529" y="102"/>
                    <a:pt x="1529" y="102"/>
                    <a:pt x="1529" y="102"/>
                  </a:cubicBezTo>
                  <a:cubicBezTo>
                    <a:pt x="1529" y="104"/>
                    <a:pt x="1529" y="108"/>
                    <a:pt x="1529" y="109"/>
                  </a:cubicBezTo>
                  <a:cubicBezTo>
                    <a:pt x="1529" y="110"/>
                    <a:pt x="1529" y="110"/>
                    <a:pt x="1528" y="110"/>
                  </a:cubicBezTo>
                  <a:cubicBezTo>
                    <a:pt x="1521" y="110"/>
                    <a:pt x="1517" y="119"/>
                    <a:pt x="1499" y="119"/>
                  </a:cubicBezTo>
                  <a:cubicBezTo>
                    <a:pt x="1478" y="119"/>
                    <a:pt x="1462" y="105"/>
                    <a:pt x="1462" y="77"/>
                  </a:cubicBezTo>
                  <a:cubicBezTo>
                    <a:pt x="1462" y="55"/>
                    <a:pt x="1474" y="36"/>
                    <a:pt x="1499" y="36"/>
                  </a:cubicBezTo>
                  <a:cubicBezTo>
                    <a:pt x="1507" y="36"/>
                    <a:pt x="1513" y="38"/>
                    <a:pt x="1517" y="40"/>
                  </a:cubicBezTo>
                  <a:cubicBezTo>
                    <a:pt x="1520" y="38"/>
                    <a:pt x="1520" y="38"/>
                    <a:pt x="1520" y="38"/>
                  </a:cubicBezTo>
                  <a:cubicBezTo>
                    <a:pt x="1520" y="37"/>
                    <a:pt x="1520" y="37"/>
                    <a:pt x="1521" y="37"/>
                  </a:cubicBezTo>
                  <a:cubicBezTo>
                    <a:pt x="1524" y="37"/>
                    <a:pt x="1524" y="37"/>
                    <a:pt x="1524" y="37"/>
                  </a:cubicBezTo>
                  <a:cubicBezTo>
                    <a:pt x="1524" y="42"/>
                    <a:pt x="1524" y="55"/>
                    <a:pt x="1524" y="61"/>
                  </a:cubicBezTo>
                  <a:cubicBezTo>
                    <a:pt x="1520" y="61"/>
                    <a:pt x="1520" y="61"/>
                    <a:pt x="1520" y="61"/>
                  </a:cubicBezTo>
                  <a:cubicBezTo>
                    <a:pt x="1520" y="61"/>
                    <a:pt x="1519" y="61"/>
                    <a:pt x="1519" y="60"/>
                  </a:cubicBezTo>
                  <a:cubicBezTo>
                    <a:pt x="1516" y="48"/>
                    <a:pt x="1511" y="43"/>
                    <a:pt x="1500" y="43"/>
                  </a:cubicBezTo>
                  <a:cubicBezTo>
                    <a:pt x="1481" y="43"/>
                    <a:pt x="1477" y="61"/>
                    <a:pt x="1477" y="77"/>
                  </a:cubicBezTo>
                  <a:cubicBezTo>
                    <a:pt x="1477" y="94"/>
                    <a:pt x="1482" y="113"/>
                    <a:pt x="1501" y="113"/>
                  </a:cubicBezTo>
                  <a:cubicBezTo>
                    <a:pt x="1510" y="113"/>
                    <a:pt x="1515" y="108"/>
                    <a:pt x="1515" y="100"/>
                  </a:cubicBezTo>
                  <a:cubicBezTo>
                    <a:pt x="1515" y="98"/>
                    <a:pt x="1515" y="98"/>
                    <a:pt x="1515" y="98"/>
                  </a:cubicBezTo>
                  <a:cubicBezTo>
                    <a:pt x="1515" y="89"/>
                    <a:pt x="1515" y="89"/>
                    <a:pt x="1503" y="87"/>
                  </a:cubicBezTo>
                  <a:cubicBezTo>
                    <a:pt x="1502" y="87"/>
                    <a:pt x="1502" y="87"/>
                    <a:pt x="1502" y="86"/>
                  </a:cubicBezTo>
                  <a:cubicBezTo>
                    <a:pt x="1502" y="82"/>
                    <a:pt x="1502" y="82"/>
                    <a:pt x="1502" y="82"/>
                  </a:cubicBezTo>
                  <a:cubicBezTo>
                    <a:pt x="1508" y="83"/>
                    <a:pt x="1516" y="83"/>
                    <a:pt x="1521" y="83"/>
                  </a:cubicBezTo>
                  <a:cubicBezTo>
                    <a:pt x="1527" y="83"/>
                    <a:pt x="1531" y="83"/>
                    <a:pt x="1537" y="82"/>
                  </a:cubicBezTo>
                  <a:lnTo>
                    <a:pt x="1537" y="86"/>
                  </a:lnTo>
                  <a:close/>
                  <a:moveTo>
                    <a:pt x="1670" y="71"/>
                  </a:moveTo>
                  <a:cubicBezTo>
                    <a:pt x="1670" y="72"/>
                    <a:pt x="1670" y="73"/>
                    <a:pt x="1669" y="73"/>
                  </a:cubicBezTo>
                  <a:cubicBezTo>
                    <a:pt x="1658" y="75"/>
                    <a:pt x="1658" y="75"/>
                    <a:pt x="1658" y="90"/>
                  </a:cubicBezTo>
                  <a:cubicBezTo>
                    <a:pt x="1658" y="94"/>
                    <a:pt x="1658" y="94"/>
                    <a:pt x="1658" y="94"/>
                  </a:cubicBezTo>
                  <a:cubicBezTo>
                    <a:pt x="1658" y="97"/>
                    <a:pt x="1659" y="102"/>
                    <a:pt x="1659" y="104"/>
                  </a:cubicBezTo>
                  <a:cubicBezTo>
                    <a:pt x="1659" y="105"/>
                    <a:pt x="1658" y="105"/>
                    <a:pt x="1658" y="105"/>
                  </a:cubicBezTo>
                  <a:cubicBezTo>
                    <a:pt x="1647" y="105"/>
                    <a:pt x="1643" y="119"/>
                    <a:pt x="1619" y="119"/>
                  </a:cubicBezTo>
                  <a:cubicBezTo>
                    <a:pt x="1589" y="119"/>
                    <a:pt x="1566" y="99"/>
                    <a:pt x="1566" y="59"/>
                  </a:cubicBezTo>
                  <a:cubicBezTo>
                    <a:pt x="1566" y="26"/>
                    <a:pt x="1583" y="0"/>
                    <a:pt x="1618" y="0"/>
                  </a:cubicBezTo>
                  <a:cubicBezTo>
                    <a:pt x="1629" y="0"/>
                    <a:pt x="1639" y="2"/>
                    <a:pt x="1645" y="6"/>
                  </a:cubicBezTo>
                  <a:cubicBezTo>
                    <a:pt x="1645" y="6"/>
                    <a:pt x="1645" y="6"/>
                    <a:pt x="1645" y="6"/>
                  </a:cubicBezTo>
                  <a:cubicBezTo>
                    <a:pt x="1648" y="2"/>
                    <a:pt x="1648" y="2"/>
                    <a:pt x="1648" y="2"/>
                  </a:cubicBezTo>
                  <a:cubicBezTo>
                    <a:pt x="1648" y="1"/>
                    <a:pt x="1649" y="1"/>
                    <a:pt x="1650" y="1"/>
                  </a:cubicBezTo>
                  <a:cubicBezTo>
                    <a:pt x="1652" y="1"/>
                    <a:pt x="1652" y="1"/>
                    <a:pt x="1652" y="1"/>
                  </a:cubicBezTo>
                  <a:cubicBezTo>
                    <a:pt x="1652" y="9"/>
                    <a:pt x="1653" y="26"/>
                    <a:pt x="1653" y="33"/>
                  </a:cubicBezTo>
                  <a:cubicBezTo>
                    <a:pt x="1648" y="33"/>
                    <a:pt x="1648" y="33"/>
                    <a:pt x="1648" y="33"/>
                  </a:cubicBezTo>
                  <a:cubicBezTo>
                    <a:pt x="1648" y="33"/>
                    <a:pt x="1647" y="33"/>
                    <a:pt x="1647" y="32"/>
                  </a:cubicBezTo>
                  <a:cubicBezTo>
                    <a:pt x="1643" y="16"/>
                    <a:pt x="1634" y="7"/>
                    <a:pt x="1618" y="7"/>
                  </a:cubicBezTo>
                  <a:cubicBezTo>
                    <a:pt x="1590" y="7"/>
                    <a:pt x="1585" y="34"/>
                    <a:pt x="1585" y="59"/>
                  </a:cubicBezTo>
                  <a:cubicBezTo>
                    <a:pt x="1585" y="85"/>
                    <a:pt x="1592" y="112"/>
                    <a:pt x="1620" y="112"/>
                  </a:cubicBezTo>
                  <a:cubicBezTo>
                    <a:pt x="1634" y="112"/>
                    <a:pt x="1643" y="105"/>
                    <a:pt x="1643" y="94"/>
                  </a:cubicBezTo>
                  <a:cubicBezTo>
                    <a:pt x="1643" y="89"/>
                    <a:pt x="1643" y="89"/>
                    <a:pt x="1643" y="89"/>
                  </a:cubicBezTo>
                  <a:cubicBezTo>
                    <a:pt x="1643" y="75"/>
                    <a:pt x="1643" y="75"/>
                    <a:pt x="1627" y="73"/>
                  </a:cubicBezTo>
                  <a:cubicBezTo>
                    <a:pt x="1626" y="73"/>
                    <a:pt x="1625" y="72"/>
                    <a:pt x="1625" y="71"/>
                  </a:cubicBezTo>
                  <a:cubicBezTo>
                    <a:pt x="1625" y="66"/>
                    <a:pt x="1625" y="66"/>
                    <a:pt x="1625" y="66"/>
                  </a:cubicBezTo>
                  <a:cubicBezTo>
                    <a:pt x="1633" y="66"/>
                    <a:pt x="1640" y="67"/>
                    <a:pt x="1649" y="67"/>
                  </a:cubicBezTo>
                  <a:cubicBezTo>
                    <a:pt x="1657" y="67"/>
                    <a:pt x="1662" y="66"/>
                    <a:pt x="1670" y="66"/>
                  </a:cubicBezTo>
                  <a:lnTo>
                    <a:pt x="1670" y="71"/>
                  </a:lnTo>
                  <a:close/>
                  <a:moveTo>
                    <a:pt x="1716" y="76"/>
                  </a:moveTo>
                  <a:cubicBezTo>
                    <a:pt x="1716" y="76"/>
                    <a:pt x="1716" y="76"/>
                    <a:pt x="1716" y="76"/>
                  </a:cubicBezTo>
                  <a:cubicBezTo>
                    <a:pt x="1740" y="80"/>
                    <a:pt x="1733" y="110"/>
                    <a:pt x="1742" y="110"/>
                  </a:cubicBezTo>
                  <a:cubicBezTo>
                    <a:pt x="1745" y="110"/>
                    <a:pt x="1746" y="109"/>
                    <a:pt x="1748" y="107"/>
                  </a:cubicBezTo>
                  <a:cubicBezTo>
                    <a:pt x="1750" y="110"/>
                    <a:pt x="1750" y="110"/>
                    <a:pt x="1750" y="110"/>
                  </a:cubicBezTo>
                  <a:cubicBezTo>
                    <a:pt x="1750" y="110"/>
                    <a:pt x="1751" y="110"/>
                    <a:pt x="1751" y="111"/>
                  </a:cubicBezTo>
                  <a:cubicBezTo>
                    <a:pt x="1751" y="111"/>
                    <a:pt x="1750" y="111"/>
                    <a:pt x="1750" y="111"/>
                  </a:cubicBezTo>
                  <a:cubicBezTo>
                    <a:pt x="1747" y="116"/>
                    <a:pt x="1742" y="118"/>
                    <a:pt x="1737" y="118"/>
                  </a:cubicBezTo>
                  <a:cubicBezTo>
                    <a:pt x="1725" y="118"/>
                    <a:pt x="1723" y="108"/>
                    <a:pt x="1720" y="96"/>
                  </a:cubicBezTo>
                  <a:cubicBezTo>
                    <a:pt x="1718" y="85"/>
                    <a:pt x="1715" y="79"/>
                    <a:pt x="1705" y="79"/>
                  </a:cubicBezTo>
                  <a:cubicBezTo>
                    <a:pt x="1697" y="79"/>
                    <a:pt x="1697" y="79"/>
                    <a:pt x="1697" y="79"/>
                  </a:cubicBezTo>
                  <a:cubicBezTo>
                    <a:pt x="1697" y="96"/>
                    <a:pt x="1697" y="96"/>
                    <a:pt x="1697" y="96"/>
                  </a:cubicBezTo>
                  <a:cubicBezTo>
                    <a:pt x="1697" y="110"/>
                    <a:pt x="1697" y="111"/>
                    <a:pt x="1707" y="112"/>
                  </a:cubicBezTo>
                  <a:cubicBezTo>
                    <a:pt x="1708" y="112"/>
                    <a:pt x="1708" y="112"/>
                    <a:pt x="1708" y="113"/>
                  </a:cubicBezTo>
                  <a:cubicBezTo>
                    <a:pt x="1708" y="117"/>
                    <a:pt x="1708" y="117"/>
                    <a:pt x="1708" y="117"/>
                  </a:cubicBezTo>
                  <a:cubicBezTo>
                    <a:pt x="1702" y="117"/>
                    <a:pt x="1695" y="117"/>
                    <a:pt x="1690" y="117"/>
                  </a:cubicBezTo>
                  <a:cubicBezTo>
                    <a:pt x="1684" y="117"/>
                    <a:pt x="1678" y="117"/>
                    <a:pt x="1672" y="117"/>
                  </a:cubicBezTo>
                  <a:cubicBezTo>
                    <a:pt x="1672" y="113"/>
                    <a:pt x="1672" y="113"/>
                    <a:pt x="1672" y="113"/>
                  </a:cubicBezTo>
                  <a:cubicBezTo>
                    <a:pt x="1672" y="112"/>
                    <a:pt x="1672" y="112"/>
                    <a:pt x="1673" y="112"/>
                  </a:cubicBezTo>
                  <a:cubicBezTo>
                    <a:pt x="1683" y="111"/>
                    <a:pt x="1683" y="110"/>
                    <a:pt x="1683" y="96"/>
                  </a:cubicBezTo>
                  <a:cubicBezTo>
                    <a:pt x="1683" y="59"/>
                    <a:pt x="1683" y="59"/>
                    <a:pt x="1683" y="59"/>
                  </a:cubicBezTo>
                  <a:cubicBezTo>
                    <a:pt x="1683" y="45"/>
                    <a:pt x="1683" y="44"/>
                    <a:pt x="1673" y="43"/>
                  </a:cubicBezTo>
                  <a:cubicBezTo>
                    <a:pt x="1672" y="43"/>
                    <a:pt x="1672" y="43"/>
                    <a:pt x="1672" y="42"/>
                  </a:cubicBezTo>
                  <a:cubicBezTo>
                    <a:pt x="1672" y="38"/>
                    <a:pt x="1672" y="38"/>
                    <a:pt x="1672" y="38"/>
                  </a:cubicBezTo>
                  <a:cubicBezTo>
                    <a:pt x="1678" y="38"/>
                    <a:pt x="1684" y="38"/>
                    <a:pt x="1690" y="38"/>
                  </a:cubicBezTo>
                  <a:cubicBezTo>
                    <a:pt x="1695" y="38"/>
                    <a:pt x="1704" y="38"/>
                    <a:pt x="1708" y="38"/>
                  </a:cubicBezTo>
                  <a:cubicBezTo>
                    <a:pt x="1724" y="38"/>
                    <a:pt x="1738" y="43"/>
                    <a:pt x="1738" y="56"/>
                  </a:cubicBezTo>
                  <a:cubicBezTo>
                    <a:pt x="1738" y="65"/>
                    <a:pt x="1733" y="73"/>
                    <a:pt x="1716" y="76"/>
                  </a:cubicBezTo>
                  <a:close/>
                  <a:moveTo>
                    <a:pt x="1708" y="44"/>
                  </a:moveTo>
                  <a:cubicBezTo>
                    <a:pt x="1704" y="44"/>
                    <a:pt x="1697" y="44"/>
                    <a:pt x="1697" y="46"/>
                  </a:cubicBezTo>
                  <a:cubicBezTo>
                    <a:pt x="1697" y="73"/>
                    <a:pt x="1697" y="73"/>
                    <a:pt x="1697" y="73"/>
                  </a:cubicBezTo>
                  <a:cubicBezTo>
                    <a:pt x="1704" y="73"/>
                    <a:pt x="1704" y="73"/>
                    <a:pt x="1704" y="73"/>
                  </a:cubicBezTo>
                  <a:cubicBezTo>
                    <a:pt x="1716" y="73"/>
                    <a:pt x="1723" y="69"/>
                    <a:pt x="1723" y="58"/>
                  </a:cubicBezTo>
                  <a:cubicBezTo>
                    <a:pt x="1723" y="48"/>
                    <a:pt x="1716" y="44"/>
                    <a:pt x="1708" y="44"/>
                  </a:cubicBezTo>
                  <a:close/>
                  <a:moveTo>
                    <a:pt x="1789" y="119"/>
                  </a:moveTo>
                  <a:cubicBezTo>
                    <a:pt x="1767" y="119"/>
                    <a:pt x="1750" y="103"/>
                    <a:pt x="1750" y="79"/>
                  </a:cubicBezTo>
                  <a:cubicBezTo>
                    <a:pt x="1750" y="50"/>
                    <a:pt x="1768" y="36"/>
                    <a:pt x="1788" y="36"/>
                  </a:cubicBezTo>
                  <a:cubicBezTo>
                    <a:pt x="1810" y="36"/>
                    <a:pt x="1827" y="52"/>
                    <a:pt x="1827" y="76"/>
                  </a:cubicBezTo>
                  <a:cubicBezTo>
                    <a:pt x="1827" y="105"/>
                    <a:pt x="1809" y="119"/>
                    <a:pt x="1789" y="119"/>
                  </a:cubicBezTo>
                  <a:close/>
                  <a:moveTo>
                    <a:pt x="1787" y="43"/>
                  </a:moveTo>
                  <a:cubicBezTo>
                    <a:pt x="1773" y="43"/>
                    <a:pt x="1766" y="54"/>
                    <a:pt x="1766" y="78"/>
                  </a:cubicBezTo>
                  <a:cubicBezTo>
                    <a:pt x="1766" y="103"/>
                    <a:pt x="1775" y="112"/>
                    <a:pt x="1789" y="112"/>
                  </a:cubicBezTo>
                  <a:cubicBezTo>
                    <a:pt x="1804" y="112"/>
                    <a:pt x="1811" y="101"/>
                    <a:pt x="1811" y="77"/>
                  </a:cubicBezTo>
                  <a:cubicBezTo>
                    <a:pt x="1811" y="52"/>
                    <a:pt x="1802" y="43"/>
                    <a:pt x="1787" y="43"/>
                  </a:cubicBezTo>
                  <a:close/>
                  <a:moveTo>
                    <a:pt x="1874" y="119"/>
                  </a:moveTo>
                  <a:cubicBezTo>
                    <a:pt x="1851" y="119"/>
                    <a:pt x="1841" y="110"/>
                    <a:pt x="1841" y="89"/>
                  </a:cubicBezTo>
                  <a:cubicBezTo>
                    <a:pt x="1841" y="59"/>
                    <a:pt x="1841" y="59"/>
                    <a:pt x="1841" y="59"/>
                  </a:cubicBezTo>
                  <a:cubicBezTo>
                    <a:pt x="1841" y="45"/>
                    <a:pt x="1841" y="44"/>
                    <a:pt x="1831" y="43"/>
                  </a:cubicBezTo>
                  <a:cubicBezTo>
                    <a:pt x="1830" y="43"/>
                    <a:pt x="1830" y="43"/>
                    <a:pt x="1830" y="42"/>
                  </a:cubicBezTo>
                  <a:cubicBezTo>
                    <a:pt x="1830" y="38"/>
                    <a:pt x="1830" y="38"/>
                    <a:pt x="1830" y="38"/>
                  </a:cubicBezTo>
                  <a:cubicBezTo>
                    <a:pt x="1835" y="38"/>
                    <a:pt x="1842" y="38"/>
                    <a:pt x="1848" y="38"/>
                  </a:cubicBezTo>
                  <a:cubicBezTo>
                    <a:pt x="1853" y="38"/>
                    <a:pt x="1860" y="38"/>
                    <a:pt x="1866" y="38"/>
                  </a:cubicBezTo>
                  <a:cubicBezTo>
                    <a:pt x="1866" y="42"/>
                    <a:pt x="1866" y="42"/>
                    <a:pt x="1866" y="42"/>
                  </a:cubicBezTo>
                  <a:cubicBezTo>
                    <a:pt x="1866" y="43"/>
                    <a:pt x="1865" y="43"/>
                    <a:pt x="1865" y="43"/>
                  </a:cubicBezTo>
                  <a:cubicBezTo>
                    <a:pt x="1855" y="44"/>
                    <a:pt x="1855" y="45"/>
                    <a:pt x="1855" y="59"/>
                  </a:cubicBezTo>
                  <a:cubicBezTo>
                    <a:pt x="1855" y="91"/>
                    <a:pt x="1855" y="91"/>
                    <a:pt x="1855" y="91"/>
                  </a:cubicBezTo>
                  <a:cubicBezTo>
                    <a:pt x="1855" y="103"/>
                    <a:pt x="1861" y="110"/>
                    <a:pt x="1875" y="110"/>
                  </a:cubicBezTo>
                  <a:cubicBezTo>
                    <a:pt x="1889" y="110"/>
                    <a:pt x="1895" y="103"/>
                    <a:pt x="1895" y="90"/>
                  </a:cubicBezTo>
                  <a:cubicBezTo>
                    <a:pt x="1895" y="71"/>
                    <a:pt x="1895" y="71"/>
                    <a:pt x="1895" y="71"/>
                  </a:cubicBezTo>
                  <a:cubicBezTo>
                    <a:pt x="1895" y="46"/>
                    <a:pt x="1895" y="45"/>
                    <a:pt x="1881" y="43"/>
                  </a:cubicBezTo>
                  <a:cubicBezTo>
                    <a:pt x="1881" y="43"/>
                    <a:pt x="1881" y="43"/>
                    <a:pt x="1881" y="42"/>
                  </a:cubicBezTo>
                  <a:cubicBezTo>
                    <a:pt x="1881" y="38"/>
                    <a:pt x="1881" y="38"/>
                    <a:pt x="1881" y="38"/>
                  </a:cubicBezTo>
                  <a:cubicBezTo>
                    <a:pt x="1886" y="38"/>
                    <a:pt x="1893" y="38"/>
                    <a:pt x="1899" y="38"/>
                  </a:cubicBezTo>
                  <a:cubicBezTo>
                    <a:pt x="1905" y="38"/>
                    <a:pt x="1907" y="38"/>
                    <a:pt x="1913" y="38"/>
                  </a:cubicBezTo>
                  <a:cubicBezTo>
                    <a:pt x="1913" y="42"/>
                    <a:pt x="1913" y="42"/>
                    <a:pt x="1913" y="42"/>
                  </a:cubicBezTo>
                  <a:cubicBezTo>
                    <a:pt x="1913" y="43"/>
                    <a:pt x="1913" y="43"/>
                    <a:pt x="1912" y="43"/>
                  </a:cubicBezTo>
                  <a:cubicBezTo>
                    <a:pt x="1903" y="44"/>
                    <a:pt x="1903" y="46"/>
                    <a:pt x="1903" y="71"/>
                  </a:cubicBezTo>
                  <a:cubicBezTo>
                    <a:pt x="1903" y="88"/>
                    <a:pt x="1903" y="88"/>
                    <a:pt x="1903" y="88"/>
                  </a:cubicBezTo>
                  <a:cubicBezTo>
                    <a:pt x="1903" y="109"/>
                    <a:pt x="1893" y="119"/>
                    <a:pt x="1874" y="119"/>
                  </a:cubicBezTo>
                  <a:close/>
                  <a:moveTo>
                    <a:pt x="1949" y="84"/>
                  </a:moveTo>
                  <a:cubicBezTo>
                    <a:pt x="1943" y="84"/>
                    <a:pt x="1943" y="84"/>
                    <a:pt x="1943" y="84"/>
                  </a:cubicBezTo>
                  <a:cubicBezTo>
                    <a:pt x="1943" y="96"/>
                    <a:pt x="1943" y="96"/>
                    <a:pt x="1943" y="96"/>
                  </a:cubicBezTo>
                  <a:cubicBezTo>
                    <a:pt x="1943" y="110"/>
                    <a:pt x="1943" y="111"/>
                    <a:pt x="1955" y="112"/>
                  </a:cubicBezTo>
                  <a:cubicBezTo>
                    <a:pt x="1956" y="112"/>
                    <a:pt x="1956" y="112"/>
                    <a:pt x="1956" y="113"/>
                  </a:cubicBezTo>
                  <a:cubicBezTo>
                    <a:pt x="1956" y="117"/>
                    <a:pt x="1956" y="117"/>
                    <a:pt x="1956" y="117"/>
                  </a:cubicBezTo>
                  <a:cubicBezTo>
                    <a:pt x="1951" y="117"/>
                    <a:pt x="1941" y="117"/>
                    <a:pt x="1936" y="117"/>
                  </a:cubicBezTo>
                  <a:cubicBezTo>
                    <a:pt x="1930" y="117"/>
                    <a:pt x="1923" y="117"/>
                    <a:pt x="1918" y="117"/>
                  </a:cubicBezTo>
                  <a:cubicBezTo>
                    <a:pt x="1918" y="113"/>
                    <a:pt x="1918" y="113"/>
                    <a:pt x="1918" y="113"/>
                  </a:cubicBezTo>
                  <a:cubicBezTo>
                    <a:pt x="1918" y="112"/>
                    <a:pt x="1918" y="112"/>
                    <a:pt x="1919" y="112"/>
                  </a:cubicBezTo>
                  <a:cubicBezTo>
                    <a:pt x="1929" y="111"/>
                    <a:pt x="1929" y="110"/>
                    <a:pt x="1929" y="96"/>
                  </a:cubicBezTo>
                  <a:cubicBezTo>
                    <a:pt x="1929" y="59"/>
                    <a:pt x="1929" y="59"/>
                    <a:pt x="1929" y="59"/>
                  </a:cubicBezTo>
                  <a:cubicBezTo>
                    <a:pt x="1929" y="45"/>
                    <a:pt x="1929" y="44"/>
                    <a:pt x="1919" y="43"/>
                  </a:cubicBezTo>
                  <a:cubicBezTo>
                    <a:pt x="1918" y="43"/>
                    <a:pt x="1918" y="43"/>
                    <a:pt x="1918" y="42"/>
                  </a:cubicBezTo>
                  <a:cubicBezTo>
                    <a:pt x="1918" y="38"/>
                    <a:pt x="1918" y="38"/>
                    <a:pt x="1918" y="38"/>
                  </a:cubicBezTo>
                  <a:cubicBezTo>
                    <a:pt x="1923" y="38"/>
                    <a:pt x="1930" y="38"/>
                    <a:pt x="1936" y="38"/>
                  </a:cubicBezTo>
                  <a:cubicBezTo>
                    <a:pt x="1942" y="38"/>
                    <a:pt x="1947" y="38"/>
                    <a:pt x="1952" y="38"/>
                  </a:cubicBezTo>
                  <a:cubicBezTo>
                    <a:pt x="1965" y="38"/>
                    <a:pt x="1984" y="42"/>
                    <a:pt x="1984" y="59"/>
                  </a:cubicBezTo>
                  <a:cubicBezTo>
                    <a:pt x="1984" y="70"/>
                    <a:pt x="1978" y="84"/>
                    <a:pt x="1949" y="84"/>
                  </a:cubicBezTo>
                  <a:close/>
                  <a:moveTo>
                    <a:pt x="1952" y="44"/>
                  </a:moveTo>
                  <a:cubicBezTo>
                    <a:pt x="1949" y="44"/>
                    <a:pt x="1943" y="44"/>
                    <a:pt x="1943" y="46"/>
                  </a:cubicBezTo>
                  <a:cubicBezTo>
                    <a:pt x="1943" y="78"/>
                    <a:pt x="1943" y="78"/>
                    <a:pt x="1943" y="78"/>
                  </a:cubicBezTo>
                  <a:cubicBezTo>
                    <a:pt x="1949" y="78"/>
                    <a:pt x="1949" y="78"/>
                    <a:pt x="1949" y="78"/>
                  </a:cubicBezTo>
                  <a:cubicBezTo>
                    <a:pt x="1962" y="78"/>
                    <a:pt x="1969" y="73"/>
                    <a:pt x="1969" y="60"/>
                  </a:cubicBezTo>
                  <a:cubicBezTo>
                    <a:pt x="1969" y="49"/>
                    <a:pt x="1962" y="44"/>
                    <a:pt x="1952"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6E6F73"/>
                </a:solidFill>
                <a:latin typeface="+mn-lt"/>
                <a:sym typeface="Trebuchet MS" panose="020B0603020202020204" pitchFamily="34" charset="0"/>
              </a:endParaRPr>
            </a:p>
          </p:txBody>
        </p:sp>
      </p:gr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a:lnSpc>
                <a:spcPct val="90000"/>
              </a:lnSpc>
              <a:spcAft>
                <a:spcPts val="600"/>
              </a:spcAft>
            </a:pPr>
            <a:r>
              <a:rPr lang="en-US" sz="1200" dirty="0">
                <a:solidFill>
                  <a:schemeClr val="bg1"/>
                </a:solidFill>
                <a:latin typeface="+mn-lt"/>
                <a:sym typeface="Trebuchet MS" panose="020B0603020202020204" pitchFamily="34" charset="0"/>
              </a:rPr>
              <a:t>bcg.com</a:t>
            </a:r>
          </a:p>
        </p:txBody>
      </p:sp>
    </p:spTree>
    <p:extLst>
      <p:ext uri="{BB962C8B-B14F-4D97-AF65-F5344CB8AC3E}">
        <p14:creationId xmlns:p14="http://schemas.microsoft.com/office/powerpoint/2010/main" val="343148082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pSp>
        <p:nvGrpSpPr>
          <p:cNvPr id="49" name="Group 48"/>
          <p:cNvGrpSpPr/>
          <p:nvPr userDrawn="1"/>
        </p:nvGrpSpPr>
        <p:grpSpPr>
          <a:xfrm>
            <a:off x="-600" y="-1"/>
            <a:ext cx="12193800" cy="6858001"/>
            <a:chOff x="-600" y="-1"/>
            <a:chExt cx="12193800" cy="6858001"/>
          </a:xfrm>
        </p:grpSpPr>
        <p:sp>
          <p:nvSpPr>
            <p:cNvPr id="50"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ndParaRPr>
            </a:p>
          </p:txBody>
        </p:sp>
        <p:grpSp>
          <p:nvGrpSpPr>
            <p:cNvPr id="51" name="Baselines / anchors"/>
            <p:cNvGrpSpPr/>
            <p:nvPr userDrawn="1"/>
          </p:nvGrpSpPr>
          <p:grpSpPr>
            <a:xfrm>
              <a:off x="-600" y="622800"/>
              <a:ext cx="12193200" cy="5536800"/>
              <a:chOff x="12623800" y="622800"/>
              <a:chExt cx="11176000" cy="5536800"/>
            </a:xfrm>
          </p:grpSpPr>
          <p:cxnSp>
            <p:nvCxnSpPr>
              <p:cNvPr id="77" name="Straight Connector 76"/>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2" name="Gutter space"/>
            <p:cNvGrpSpPr/>
            <p:nvPr userDrawn="1"/>
          </p:nvGrpSpPr>
          <p:grpSpPr>
            <a:xfrm>
              <a:off x="1277000" y="623550"/>
              <a:ext cx="9638000" cy="5537047"/>
              <a:chOff x="1277000" y="623550"/>
              <a:chExt cx="9638000" cy="5537047"/>
            </a:xfrm>
          </p:grpSpPr>
          <p:sp>
            <p:nvSpPr>
              <p:cNvPr id="66"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67"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68"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69"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70"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71"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72"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73"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74"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75"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76"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grpSp>
        <p:sp>
          <p:nvSpPr>
            <p:cNvPr id="53"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mn-lt"/>
                <a:ea typeface="+mn-ea"/>
                <a:cs typeface="+mn-cs"/>
              </a:endParaRPr>
            </a:p>
          </p:txBody>
        </p:sp>
        <p:sp>
          <p:nvSpPr>
            <p:cNvPr id="54"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57"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grpSp>
          <p:nvGrpSpPr>
            <p:cNvPr id="58" name="Five column measure"/>
            <p:cNvGrpSpPr/>
            <p:nvPr userDrawn="1"/>
          </p:nvGrpSpPr>
          <p:grpSpPr>
            <a:xfrm>
              <a:off x="629400" y="5975122"/>
              <a:ext cx="10933200" cy="79536"/>
              <a:chOff x="629400" y="5975122"/>
              <a:chExt cx="10933200" cy="79536"/>
            </a:xfrm>
          </p:grpSpPr>
          <p:sp>
            <p:nvSpPr>
              <p:cNvPr id="61"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62"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63"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64"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65"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grpSp>
        <p:sp>
          <p:nvSpPr>
            <p:cNvPr id="59"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ndParaRPr>
            </a:p>
          </p:txBody>
        </p:sp>
        <p:sp>
          <p:nvSpPr>
            <p:cNvPr id="60"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1. </a:t>
              </a:r>
              <a:r>
                <a:rPr kumimoji="0" lang="en-US" sz="1000" b="0" i="0" u="none" strike="noStrike" kern="1200" cap="none" spc="0" normalizeH="0" baseline="0" noProof="0" dirty="0" err="1">
                  <a:ln>
                    <a:noFill/>
                  </a:ln>
                  <a:solidFill>
                    <a:schemeClr val="bg1">
                      <a:lumMod val="50000"/>
                    </a:schemeClr>
                  </a:solidFill>
                  <a:effectLst/>
                  <a:uLnTx/>
                  <a:uFillTx/>
                  <a:latin typeface="+mn-lt"/>
                  <a:ea typeface="+mn-ea"/>
                  <a:cs typeface="+mn-cs"/>
                  <a:sym typeface="Trebuchet MS" panose="020B0603020202020204" pitchFamily="34" charset="0"/>
                </a:rPr>
                <a:t>xxxx</a:t>
              </a: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  2. </a:t>
              </a:r>
              <a:r>
                <a:rPr kumimoji="0" lang="en-US" sz="1000" b="0" i="0" u="none" strike="noStrike" kern="1200" cap="none" spc="0" normalizeH="0" baseline="0" noProof="0" dirty="0" err="1">
                  <a:ln>
                    <a:noFill/>
                  </a:ln>
                  <a:solidFill>
                    <a:schemeClr val="bg1">
                      <a:lumMod val="50000"/>
                    </a:schemeClr>
                  </a:solidFill>
                  <a:effectLst/>
                  <a:uLnTx/>
                  <a:uFillTx/>
                  <a:latin typeface="+mn-lt"/>
                  <a:ea typeface="+mn-ea"/>
                  <a:cs typeface="+mn-cs"/>
                  <a:sym typeface="Trebuchet MS" panose="020B0603020202020204" pitchFamily="34" charset="0"/>
                </a:rPr>
                <a:t>xxxx</a:t>
              </a: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5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55"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Slide examples_Killer slides_Final.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29822355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D. Title Slide">
    <p:spTree>
      <p:nvGrpSpPr>
        <p:cNvPr id="1" name=""/>
        <p:cNvGrpSpPr/>
        <p:nvPr/>
      </p:nvGrpSpPr>
      <p:grpSpPr>
        <a:xfrm>
          <a:off x="0" y="0"/>
          <a:ext cx="0" cy="0"/>
          <a:chOff x="0" y="0"/>
          <a:chExt cx="0" cy="0"/>
        </a:xfrm>
      </p:grpSpPr>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sym typeface="Trebuchet MS" panose="020B0603020202020204" pitchFamily="34" charset="0"/>
            </a:endParaRPr>
          </a:p>
        </p:txBody>
      </p:sp>
      <p:pic>
        <p:nvPicPr>
          <p:cNvPr id="18" name="Picture 17"/>
          <p:cNvPicPr>
            <a:picLocks noChangeAspect="1"/>
          </p:cNvPicPr>
          <p:nvPr userDrawn="1"/>
        </p:nvPicPr>
        <p:blipFill rotWithShape="1">
          <a:blip r:embed="rId3">
            <a:extLst>
              <a:ext uri="{28A0092B-C50C-407E-A947-70E740481C1C}">
                <a14:useLocalDpi xmlns:a14="http://schemas.microsoft.com/office/drawing/2010/main" val="0"/>
              </a:ext>
            </a:extLst>
          </a:blip>
          <a:srcRect l="1731" t="8741" r="102" b="27"/>
          <a:stretch/>
        </p:blipFill>
        <p:spPr>
          <a:xfrm rot="16200000" flipH="1">
            <a:off x="8471921" y="1973272"/>
            <a:ext cx="580573" cy="6858000"/>
          </a:xfrm>
          <a:prstGeom prst="rect">
            <a:avLst/>
          </a:prstGeom>
        </p:spPr>
      </p:pic>
      <p:pic>
        <p:nvPicPr>
          <p:cNvPr id="15" name="TitleAndEndImages"/>
          <p:cNvPicPr>
            <a:picLocks noChangeAspect="1"/>
          </p:cNvPicPr>
          <p:nvPr userDrawn="1">
            <p:custDataLst>
              <p:tags r:id="rId1"/>
            </p:custDataLst>
          </p:nvPr>
        </p:nvPicPr>
        <p:blipFill rotWithShape="1">
          <a:blip r:embed="rId4">
            <a:extLst>
              <a:ext uri="{28A0092B-C50C-407E-A947-70E740481C1C}">
                <a14:useLocalDpi xmlns:a14="http://schemas.microsoft.com/office/drawing/2010/main" val="0"/>
              </a:ext>
            </a:extLst>
          </a:blip>
          <a:srcRect b="23056"/>
          <a:stretch/>
        </p:blipFill>
        <p:spPr>
          <a:xfrm>
            <a:off x="0" y="0"/>
            <a:ext cx="12192000" cy="5276850"/>
          </a:xfrm>
          <a:prstGeom prst="rect">
            <a:avLst/>
          </a:prstGeom>
        </p:spPr>
      </p:pic>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Logo</a:t>
            </a:r>
          </a:p>
        </p:txBody>
      </p:sp>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957600"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grpSp>
        <p:nvGrpSpPr>
          <p:cNvPr id="23" name="Group 22"/>
          <p:cNvGrpSpPr/>
          <p:nvPr userDrawn="1"/>
        </p:nvGrpSpPr>
        <p:grpSpPr>
          <a:xfrm>
            <a:off x="957600" y="946936"/>
            <a:ext cx="2887436" cy="894745"/>
            <a:chOff x="848180" y="896938"/>
            <a:chExt cx="2178050" cy="674924"/>
          </a:xfrm>
          <a:solidFill>
            <a:schemeClr val="bg1"/>
          </a:solidFill>
        </p:grpSpPr>
        <p:sp>
          <p:nvSpPr>
            <p:cNvPr id="24" name="Freeform 5"/>
            <p:cNvSpPr>
              <a:spLocks noEditPoints="1"/>
            </p:cNvSpPr>
            <p:nvPr/>
          </p:nvSpPr>
          <p:spPr bwMode="auto">
            <a:xfrm>
              <a:off x="848180" y="896938"/>
              <a:ext cx="997552" cy="414102"/>
            </a:xfrm>
            <a:custGeom>
              <a:avLst/>
              <a:gdLst>
                <a:gd name="T0" fmla="*/ 39 w 340"/>
                <a:gd name="T1" fmla="*/ 10 h 140"/>
                <a:gd name="T2" fmla="*/ 54 w 340"/>
                <a:gd name="T3" fmla="*/ 8 h 140"/>
                <a:gd name="T4" fmla="*/ 47 w 340"/>
                <a:gd name="T5" fmla="*/ 64 h 140"/>
                <a:gd name="T6" fmla="*/ 60 w 340"/>
                <a:gd name="T7" fmla="*/ 132 h 140"/>
                <a:gd name="T8" fmla="*/ 39 w 340"/>
                <a:gd name="T9" fmla="*/ 69 h 140"/>
                <a:gd name="T10" fmla="*/ 92 w 340"/>
                <a:gd name="T11" fmla="*/ 100 h 140"/>
                <a:gd name="T12" fmla="*/ 285 w 340"/>
                <a:gd name="T13" fmla="*/ 78 h 140"/>
                <a:gd name="T14" fmla="*/ 286 w 340"/>
                <a:gd name="T15" fmla="*/ 82 h 140"/>
                <a:gd name="T16" fmla="*/ 306 w 340"/>
                <a:gd name="T17" fmla="*/ 113 h 140"/>
                <a:gd name="T18" fmla="*/ 238 w 340"/>
                <a:gd name="T19" fmla="*/ 71 h 140"/>
                <a:gd name="T20" fmla="*/ 315 w 340"/>
                <a:gd name="T21" fmla="*/ 40 h 140"/>
                <a:gd name="T22" fmla="*/ 318 w 340"/>
                <a:gd name="T23" fmla="*/ 41 h 140"/>
                <a:gd name="T24" fmla="*/ 317 w 340"/>
                <a:gd name="T25" fmla="*/ 1 h 140"/>
                <a:gd name="T26" fmla="*/ 313 w 340"/>
                <a:gd name="T27" fmla="*/ 12 h 140"/>
                <a:gd name="T28" fmla="*/ 278 w 340"/>
                <a:gd name="T29" fmla="*/ 0 h 140"/>
                <a:gd name="T30" fmla="*/ 216 w 340"/>
                <a:gd name="T31" fmla="*/ 90 h 140"/>
                <a:gd name="T32" fmla="*/ 177 w 340"/>
                <a:gd name="T33" fmla="*/ 135 h 140"/>
                <a:gd name="T34" fmla="*/ 174 w 340"/>
                <a:gd name="T35" fmla="*/ 5 h 140"/>
                <a:gd name="T36" fmla="*/ 210 w 340"/>
                <a:gd name="T37" fmla="*/ 34 h 140"/>
                <a:gd name="T38" fmla="*/ 211 w 340"/>
                <a:gd name="T39" fmla="*/ 1 h 140"/>
                <a:gd name="T40" fmla="*/ 208 w 340"/>
                <a:gd name="T41" fmla="*/ 2 h 140"/>
                <a:gd name="T42" fmla="*/ 206 w 340"/>
                <a:gd name="T43" fmla="*/ 12 h 140"/>
                <a:gd name="T44" fmla="*/ 110 w 340"/>
                <a:gd name="T45" fmla="*/ 71 h 140"/>
                <a:gd name="T46" fmla="*/ 110 w 340"/>
                <a:gd name="T47" fmla="*/ 82 h 140"/>
                <a:gd name="T48" fmla="*/ 69 w 340"/>
                <a:gd name="T49" fmla="*/ 65 h 140"/>
                <a:gd name="T50" fmla="*/ 53 w 340"/>
                <a:gd name="T51" fmla="*/ 2 h 140"/>
                <a:gd name="T52" fmla="*/ 0 w 340"/>
                <a:gd name="T53" fmla="*/ 2 h 140"/>
                <a:gd name="T54" fmla="*/ 1 w 340"/>
                <a:gd name="T55" fmla="*/ 6 h 140"/>
                <a:gd name="T56" fmla="*/ 18 w 340"/>
                <a:gd name="T57" fmla="*/ 106 h 140"/>
                <a:gd name="T58" fmla="*/ 0 w 340"/>
                <a:gd name="T59" fmla="*/ 135 h 140"/>
                <a:gd name="T60" fmla="*/ 28 w 340"/>
                <a:gd name="T61" fmla="*/ 137 h 140"/>
                <a:gd name="T62" fmla="*/ 115 w 340"/>
                <a:gd name="T63" fmla="*/ 101 h 140"/>
                <a:gd name="T64" fmla="*/ 177 w 340"/>
                <a:gd name="T65" fmla="*/ 140 h 140"/>
                <a:gd name="T66" fmla="*/ 214 w 340"/>
                <a:gd name="T67" fmla="*/ 127 h 140"/>
                <a:gd name="T68" fmla="*/ 218 w 340"/>
                <a:gd name="T69" fmla="*/ 138 h 140"/>
                <a:gd name="T70" fmla="*/ 219 w 340"/>
                <a:gd name="T71" fmla="*/ 101 h 140"/>
                <a:gd name="T72" fmla="*/ 279 w 340"/>
                <a:gd name="T73" fmla="*/ 140 h 140"/>
                <a:gd name="T74" fmla="*/ 328 w 340"/>
                <a:gd name="T75" fmla="*/ 121 h 140"/>
                <a:gd name="T76" fmla="*/ 327 w 340"/>
                <a:gd name="T77" fmla="*/ 101 h 140"/>
                <a:gd name="T78" fmla="*/ 340 w 340"/>
                <a:gd name="T79" fmla="*/ 80 h 140"/>
                <a:gd name="T80" fmla="*/ 315 w 340"/>
                <a:gd name="T81" fmla="*/ 78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40" h="140">
                  <a:moveTo>
                    <a:pt x="39" y="64"/>
                  </a:moveTo>
                  <a:cubicBezTo>
                    <a:pt x="39" y="10"/>
                    <a:pt x="39" y="10"/>
                    <a:pt x="39" y="10"/>
                  </a:cubicBezTo>
                  <a:cubicBezTo>
                    <a:pt x="39" y="9"/>
                    <a:pt x="39" y="8"/>
                    <a:pt x="41" y="8"/>
                  </a:cubicBezTo>
                  <a:cubicBezTo>
                    <a:pt x="44" y="8"/>
                    <a:pt x="51" y="8"/>
                    <a:pt x="54" y="8"/>
                  </a:cubicBezTo>
                  <a:cubicBezTo>
                    <a:pt x="70" y="8"/>
                    <a:pt x="81" y="17"/>
                    <a:pt x="81" y="36"/>
                  </a:cubicBezTo>
                  <a:cubicBezTo>
                    <a:pt x="81" y="57"/>
                    <a:pt x="68" y="64"/>
                    <a:pt x="47" y="64"/>
                  </a:cubicBezTo>
                  <a:lnTo>
                    <a:pt x="39" y="64"/>
                  </a:lnTo>
                  <a:close/>
                  <a:moveTo>
                    <a:pt x="60" y="132"/>
                  </a:moveTo>
                  <a:cubicBezTo>
                    <a:pt x="42" y="132"/>
                    <a:pt x="39" y="129"/>
                    <a:pt x="39" y="104"/>
                  </a:cubicBezTo>
                  <a:cubicBezTo>
                    <a:pt x="39" y="69"/>
                    <a:pt x="39" y="69"/>
                    <a:pt x="39" y="69"/>
                  </a:cubicBezTo>
                  <a:cubicBezTo>
                    <a:pt x="47" y="69"/>
                    <a:pt x="47" y="69"/>
                    <a:pt x="47" y="69"/>
                  </a:cubicBezTo>
                  <a:cubicBezTo>
                    <a:pt x="71" y="69"/>
                    <a:pt x="92" y="74"/>
                    <a:pt x="92" y="100"/>
                  </a:cubicBezTo>
                  <a:cubicBezTo>
                    <a:pt x="92" y="120"/>
                    <a:pt x="80" y="132"/>
                    <a:pt x="60" y="132"/>
                  </a:cubicBezTo>
                  <a:close/>
                  <a:moveTo>
                    <a:pt x="285" y="78"/>
                  </a:moveTo>
                  <a:cubicBezTo>
                    <a:pt x="285" y="80"/>
                    <a:pt x="285" y="80"/>
                    <a:pt x="285" y="80"/>
                  </a:cubicBezTo>
                  <a:cubicBezTo>
                    <a:pt x="285" y="81"/>
                    <a:pt x="285" y="82"/>
                    <a:pt x="286" y="82"/>
                  </a:cubicBezTo>
                  <a:cubicBezTo>
                    <a:pt x="306" y="82"/>
                    <a:pt x="306" y="84"/>
                    <a:pt x="306" y="100"/>
                  </a:cubicBezTo>
                  <a:cubicBezTo>
                    <a:pt x="306" y="113"/>
                    <a:pt x="306" y="113"/>
                    <a:pt x="306" y="113"/>
                  </a:cubicBezTo>
                  <a:cubicBezTo>
                    <a:pt x="306" y="126"/>
                    <a:pt x="298" y="135"/>
                    <a:pt x="280" y="135"/>
                  </a:cubicBezTo>
                  <a:cubicBezTo>
                    <a:pt x="251" y="135"/>
                    <a:pt x="238" y="106"/>
                    <a:pt x="238" y="71"/>
                  </a:cubicBezTo>
                  <a:cubicBezTo>
                    <a:pt x="238" y="37"/>
                    <a:pt x="247" y="5"/>
                    <a:pt x="280" y="5"/>
                  </a:cubicBezTo>
                  <a:cubicBezTo>
                    <a:pt x="298" y="5"/>
                    <a:pt x="313" y="17"/>
                    <a:pt x="315" y="40"/>
                  </a:cubicBezTo>
                  <a:cubicBezTo>
                    <a:pt x="315" y="41"/>
                    <a:pt x="315" y="41"/>
                    <a:pt x="316" y="41"/>
                  </a:cubicBezTo>
                  <a:cubicBezTo>
                    <a:pt x="318" y="41"/>
                    <a:pt x="318" y="41"/>
                    <a:pt x="318" y="41"/>
                  </a:cubicBezTo>
                  <a:cubicBezTo>
                    <a:pt x="318" y="32"/>
                    <a:pt x="318" y="10"/>
                    <a:pt x="318" y="1"/>
                  </a:cubicBezTo>
                  <a:cubicBezTo>
                    <a:pt x="317" y="1"/>
                    <a:pt x="317" y="1"/>
                    <a:pt x="317" y="1"/>
                  </a:cubicBezTo>
                  <a:cubicBezTo>
                    <a:pt x="315" y="1"/>
                    <a:pt x="315" y="1"/>
                    <a:pt x="315" y="2"/>
                  </a:cubicBezTo>
                  <a:cubicBezTo>
                    <a:pt x="313" y="12"/>
                    <a:pt x="313" y="12"/>
                    <a:pt x="313" y="12"/>
                  </a:cubicBezTo>
                  <a:cubicBezTo>
                    <a:pt x="313" y="12"/>
                    <a:pt x="313" y="12"/>
                    <a:pt x="313" y="12"/>
                  </a:cubicBezTo>
                  <a:cubicBezTo>
                    <a:pt x="303" y="3"/>
                    <a:pt x="290" y="0"/>
                    <a:pt x="278" y="0"/>
                  </a:cubicBezTo>
                  <a:cubicBezTo>
                    <a:pt x="239" y="0"/>
                    <a:pt x="214" y="32"/>
                    <a:pt x="214" y="71"/>
                  </a:cubicBezTo>
                  <a:cubicBezTo>
                    <a:pt x="214" y="78"/>
                    <a:pt x="215" y="84"/>
                    <a:pt x="216" y="90"/>
                  </a:cubicBezTo>
                  <a:cubicBezTo>
                    <a:pt x="216" y="95"/>
                    <a:pt x="216" y="95"/>
                    <a:pt x="216" y="95"/>
                  </a:cubicBezTo>
                  <a:cubicBezTo>
                    <a:pt x="213" y="125"/>
                    <a:pt x="196" y="135"/>
                    <a:pt x="177" y="135"/>
                  </a:cubicBezTo>
                  <a:cubicBezTo>
                    <a:pt x="148" y="135"/>
                    <a:pt x="134" y="108"/>
                    <a:pt x="134" y="71"/>
                  </a:cubicBezTo>
                  <a:cubicBezTo>
                    <a:pt x="134" y="37"/>
                    <a:pt x="142" y="5"/>
                    <a:pt x="174" y="5"/>
                  </a:cubicBezTo>
                  <a:cubicBezTo>
                    <a:pt x="191" y="5"/>
                    <a:pt x="205" y="15"/>
                    <a:pt x="208" y="33"/>
                  </a:cubicBezTo>
                  <a:cubicBezTo>
                    <a:pt x="208" y="34"/>
                    <a:pt x="209" y="34"/>
                    <a:pt x="210" y="34"/>
                  </a:cubicBezTo>
                  <a:cubicBezTo>
                    <a:pt x="212" y="34"/>
                    <a:pt x="212" y="34"/>
                    <a:pt x="212" y="34"/>
                  </a:cubicBezTo>
                  <a:cubicBezTo>
                    <a:pt x="212" y="25"/>
                    <a:pt x="211" y="10"/>
                    <a:pt x="211" y="1"/>
                  </a:cubicBezTo>
                  <a:cubicBezTo>
                    <a:pt x="210" y="1"/>
                    <a:pt x="210" y="1"/>
                    <a:pt x="210" y="1"/>
                  </a:cubicBezTo>
                  <a:cubicBezTo>
                    <a:pt x="209" y="1"/>
                    <a:pt x="208" y="1"/>
                    <a:pt x="208" y="2"/>
                  </a:cubicBezTo>
                  <a:cubicBezTo>
                    <a:pt x="206" y="12"/>
                    <a:pt x="206" y="12"/>
                    <a:pt x="206" y="12"/>
                  </a:cubicBezTo>
                  <a:cubicBezTo>
                    <a:pt x="206" y="12"/>
                    <a:pt x="206" y="12"/>
                    <a:pt x="206" y="12"/>
                  </a:cubicBezTo>
                  <a:cubicBezTo>
                    <a:pt x="197" y="3"/>
                    <a:pt x="184" y="0"/>
                    <a:pt x="172" y="0"/>
                  </a:cubicBezTo>
                  <a:cubicBezTo>
                    <a:pt x="135" y="0"/>
                    <a:pt x="110" y="32"/>
                    <a:pt x="110" y="71"/>
                  </a:cubicBezTo>
                  <a:cubicBezTo>
                    <a:pt x="110" y="75"/>
                    <a:pt x="110" y="78"/>
                    <a:pt x="110" y="82"/>
                  </a:cubicBezTo>
                  <a:cubicBezTo>
                    <a:pt x="110" y="82"/>
                    <a:pt x="110" y="82"/>
                    <a:pt x="110" y="82"/>
                  </a:cubicBezTo>
                  <a:cubicBezTo>
                    <a:pt x="102" y="71"/>
                    <a:pt x="87" y="66"/>
                    <a:pt x="69" y="65"/>
                  </a:cubicBezTo>
                  <a:cubicBezTo>
                    <a:pt x="69" y="65"/>
                    <a:pt x="69" y="65"/>
                    <a:pt x="69" y="65"/>
                  </a:cubicBezTo>
                  <a:cubicBezTo>
                    <a:pt x="89" y="61"/>
                    <a:pt x="102" y="51"/>
                    <a:pt x="102" y="34"/>
                  </a:cubicBezTo>
                  <a:cubicBezTo>
                    <a:pt x="102" y="9"/>
                    <a:pt x="75" y="2"/>
                    <a:pt x="53" y="2"/>
                  </a:cubicBezTo>
                  <a:cubicBezTo>
                    <a:pt x="47" y="2"/>
                    <a:pt x="34" y="3"/>
                    <a:pt x="29" y="3"/>
                  </a:cubicBezTo>
                  <a:cubicBezTo>
                    <a:pt x="20" y="3"/>
                    <a:pt x="9" y="3"/>
                    <a:pt x="0" y="2"/>
                  </a:cubicBezTo>
                  <a:cubicBezTo>
                    <a:pt x="0" y="5"/>
                    <a:pt x="0" y="5"/>
                    <a:pt x="0" y="5"/>
                  </a:cubicBezTo>
                  <a:cubicBezTo>
                    <a:pt x="0" y="6"/>
                    <a:pt x="0" y="6"/>
                    <a:pt x="1" y="6"/>
                  </a:cubicBezTo>
                  <a:cubicBezTo>
                    <a:pt x="18" y="7"/>
                    <a:pt x="18" y="9"/>
                    <a:pt x="18" y="34"/>
                  </a:cubicBezTo>
                  <a:cubicBezTo>
                    <a:pt x="18" y="106"/>
                    <a:pt x="18" y="106"/>
                    <a:pt x="18" y="106"/>
                  </a:cubicBezTo>
                  <a:cubicBezTo>
                    <a:pt x="18" y="130"/>
                    <a:pt x="18" y="133"/>
                    <a:pt x="2" y="133"/>
                  </a:cubicBezTo>
                  <a:cubicBezTo>
                    <a:pt x="0" y="133"/>
                    <a:pt x="0" y="134"/>
                    <a:pt x="0" y="135"/>
                  </a:cubicBezTo>
                  <a:cubicBezTo>
                    <a:pt x="0" y="137"/>
                    <a:pt x="0" y="137"/>
                    <a:pt x="0" y="137"/>
                  </a:cubicBezTo>
                  <a:cubicBezTo>
                    <a:pt x="9" y="137"/>
                    <a:pt x="18" y="137"/>
                    <a:pt x="28" y="137"/>
                  </a:cubicBezTo>
                  <a:cubicBezTo>
                    <a:pt x="40" y="137"/>
                    <a:pt x="45" y="137"/>
                    <a:pt x="60" y="137"/>
                  </a:cubicBezTo>
                  <a:cubicBezTo>
                    <a:pt x="93" y="137"/>
                    <a:pt x="114" y="121"/>
                    <a:pt x="115" y="101"/>
                  </a:cubicBezTo>
                  <a:cubicBezTo>
                    <a:pt x="116" y="101"/>
                    <a:pt x="116" y="101"/>
                    <a:pt x="116" y="101"/>
                  </a:cubicBezTo>
                  <a:cubicBezTo>
                    <a:pt x="126" y="125"/>
                    <a:pt x="148" y="140"/>
                    <a:pt x="177" y="140"/>
                  </a:cubicBezTo>
                  <a:cubicBezTo>
                    <a:pt x="190" y="140"/>
                    <a:pt x="203" y="136"/>
                    <a:pt x="213" y="127"/>
                  </a:cubicBezTo>
                  <a:cubicBezTo>
                    <a:pt x="214" y="127"/>
                    <a:pt x="214" y="127"/>
                    <a:pt x="214" y="127"/>
                  </a:cubicBezTo>
                  <a:cubicBezTo>
                    <a:pt x="215" y="137"/>
                    <a:pt x="215" y="137"/>
                    <a:pt x="215" y="137"/>
                  </a:cubicBezTo>
                  <a:cubicBezTo>
                    <a:pt x="216" y="138"/>
                    <a:pt x="216" y="138"/>
                    <a:pt x="218" y="138"/>
                  </a:cubicBezTo>
                  <a:cubicBezTo>
                    <a:pt x="219" y="138"/>
                    <a:pt x="219" y="138"/>
                    <a:pt x="219" y="138"/>
                  </a:cubicBezTo>
                  <a:cubicBezTo>
                    <a:pt x="219" y="132"/>
                    <a:pt x="219" y="114"/>
                    <a:pt x="219" y="101"/>
                  </a:cubicBezTo>
                  <a:cubicBezTo>
                    <a:pt x="220" y="101"/>
                    <a:pt x="220" y="101"/>
                    <a:pt x="220" y="101"/>
                  </a:cubicBezTo>
                  <a:cubicBezTo>
                    <a:pt x="229" y="125"/>
                    <a:pt x="252" y="140"/>
                    <a:pt x="279" y="140"/>
                  </a:cubicBezTo>
                  <a:cubicBezTo>
                    <a:pt x="305" y="140"/>
                    <a:pt x="315" y="123"/>
                    <a:pt x="326" y="123"/>
                  </a:cubicBezTo>
                  <a:cubicBezTo>
                    <a:pt x="327" y="123"/>
                    <a:pt x="328" y="123"/>
                    <a:pt x="328" y="121"/>
                  </a:cubicBezTo>
                  <a:cubicBezTo>
                    <a:pt x="328" y="119"/>
                    <a:pt x="327" y="114"/>
                    <a:pt x="327" y="110"/>
                  </a:cubicBezTo>
                  <a:cubicBezTo>
                    <a:pt x="327" y="101"/>
                    <a:pt x="327" y="101"/>
                    <a:pt x="327" y="101"/>
                  </a:cubicBezTo>
                  <a:cubicBezTo>
                    <a:pt x="327" y="84"/>
                    <a:pt x="327" y="82"/>
                    <a:pt x="339" y="82"/>
                  </a:cubicBezTo>
                  <a:cubicBezTo>
                    <a:pt x="340" y="82"/>
                    <a:pt x="340" y="81"/>
                    <a:pt x="340" y="80"/>
                  </a:cubicBezTo>
                  <a:cubicBezTo>
                    <a:pt x="340" y="78"/>
                    <a:pt x="340" y="78"/>
                    <a:pt x="340" y="78"/>
                  </a:cubicBezTo>
                  <a:cubicBezTo>
                    <a:pt x="331" y="78"/>
                    <a:pt x="325" y="78"/>
                    <a:pt x="315" y="78"/>
                  </a:cubicBezTo>
                  <a:cubicBezTo>
                    <a:pt x="306" y="78"/>
                    <a:pt x="294" y="78"/>
                    <a:pt x="285" y="7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sym typeface="Trebuchet MS" panose="020B0603020202020204" pitchFamily="34" charset="0"/>
              </a:endParaRPr>
            </a:p>
          </p:txBody>
        </p:sp>
        <p:sp>
          <p:nvSpPr>
            <p:cNvPr id="25" name="Freeform 6"/>
            <p:cNvSpPr>
              <a:spLocks noEditPoints="1"/>
            </p:cNvSpPr>
            <p:nvPr/>
          </p:nvSpPr>
          <p:spPr bwMode="auto">
            <a:xfrm>
              <a:off x="1194295" y="1459375"/>
              <a:ext cx="1831935" cy="112487"/>
            </a:xfrm>
            <a:custGeom>
              <a:avLst/>
              <a:gdLst>
                <a:gd name="T0" fmla="*/ 32 w 625"/>
                <a:gd name="T1" fmla="*/ 10 h 38"/>
                <a:gd name="T2" fmla="*/ 14 w 625"/>
                <a:gd name="T3" fmla="*/ 4 h 38"/>
                <a:gd name="T4" fmla="*/ 112 w 625"/>
                <a:gd name="T5" fmla="*/ 9 h 38"/>
                <a:gd name="T6" fmla="*/ 87 w 625"/>
                <a:gd name="T7" fmla="*/ 37 h 38"/>
                <a:gd name="T8" fmla="*/ 107 w 625"/>
                <a:gd name="T9" fmla="*/ 10 h 38"/>
                <a:gd name="T10" fmla="*/ 274 w 625"/>
                <a:gd name="T11" fmla="*/ 26 h 38"/>
                <a:gd name="T12" fmla="*/ 271 w 625"/>
                <a:gd name="T13" fmla="*/ 2 h 38"/>
                <a:gd name="T14" fmla="*/ 48 w 625"/>
                <a:gd name="T15" fmla="*/ 37 h 38"/>
                <a:gd name="T16" fmla="*/ 38 w 625"/>
                <a:gd name="T17" fmla="*/ 37 h 38"/>
                <a:gd name="T18" fmla="*/ 33 w 625"/>
                <a:gd name="T19" fmla="*/ 12 h 38"/>
                <a:gd name="T20" fmla="*/ 43 w 625"/>
                <a:gd name="T21" fmla="*/ 12 h 38"/>
                <a:gd name="T22" fmla="*/ 48 w 625"/>
                <a:gd name="T23" fmla="*/ 37 h 38"/>
                <a:gd name="T24" fmla="*/ 56 w 625"/>
                <a:gd name="T25" fmla="*/ 12 h 38"/>
                <a:gd name="T26" fmla="*/ 64 w 625"/>
                <a:gd name="T27" fmla="*/ 23 h 38"/>
                <a:gd name="T28" fmla="*/ 64 w 625"/>
                <a:gd name="T29" fmla="*/ 25 h 38"/>
                <a:gd name="T30" fmla="*/ 118 w 625"/>
                <a:gd name="T31" fmla="*/ 25 h 38"/>
                <a:gd name="T32" fmla="*/ 145 w 625"/>
                <a:gd name="T33" fmla="*/ 37 h 38"/>
                <a:gd name="T34" fmla="*/ 157 w 625"/>
                <a:gd name="T35" fmla="*/ 13 h 38"/>
                <a:gd name="T36" fmla="*/ 152 w 625"/>
                <a:gd name="T37" fmla="*/ 38 h 38"/>
                <a:gd name="T38" fmla="*/ 163 w 625"/>
                <a:gd name="T39" fmla="*/ 19 h 38"/>
                <a:gd name="T40" fmla="*/ 177 w 625"/>
                <a:gd name="T41" fmla="*/ 14 h 38"/>
                <a:gd name="T42" fmla="*/ 196 w 625"/>
                <a:gd name="T43" fmla="*/ 11 h 38"/>
                <a:gd name="T44" fmla="*/ 215 w 625"/>
                <a:gd name="T45" fmla="*/ 17 h 38"/>
                <a:gd name="T46" fmla="*/ 213 w 625"/>
                <a:gd name="T47" fmla="*/ 27 h 38"/>
                <a:gd name="T48" fmla="*/ 226 w 625"/>
                <a:gd name="T49" fmla="*/ 14 h 38"/>
                <a:gd name="T50" fmla="*/ 290 w 625"/>
                <a:gd name="T51" fmla="*/ 38 h 38"/>
                <a:gd name="T52" fmla="*/ 324 w 625"/>
                <a:gd name="T53" fmla="*/ 38 h 38"/>
                <a:gd name="T54" fmla="*/ 303 w 625"/>
                <a:gd name="T55" fmla="*/ 36 h 38"/>
                <a:gd name="T56" fmla="*/ 324 w 625"/>
                <a:gd name="T57" fmla="*/ 30 h 38"/>
                <a:gd name="T58" fmla="*/ 327 w 625"/>
                <a:gd name="T59" fmla="*/ 38 h 38"/>
                <a:gd name="T60" fmla="*/ 345 w 625"/>
                <a:gd name="T61" fmla="*/ 32 h 38"/>
                <a:gd name="T62" fmla="*/ 340 w 625"/>
                <a:gd name="T63" fmla="*/ 14 h 38"/>
                <a:gd name="T64" fmla="*/ 350 w 625"/>
                <a:gd name="T65" fmla="*/ 12 h 38"/>
                <a:gd name="T66" fmla="*/ 366 w 625"/>
                <a:gd name="T67" fmla="*/ 14 h 38"/>
                <a:gd name="T68" fmla="*/ 392 w 625"/>
                <a:gd name="T69" fmla="*/ 37 h 38"/>
                <a:gd name="T70" fmla="*/ 383 w 625"/>
                <a:gd name="T71" fmla="*/ 12 h 38"/>
                <a:gd name="T72" fmla="*/ 397 w 625"/>
                <a:gd name="T73" fmla="*/ 29 h 38"/>
                <a:gd name="T74" fmla="*/ 402 w 625"/>
                <a:gd name="T75" fmla="*/ 14 h 38"/>
                <a:gd name="T76" fmla="*/ 416 w 625"/>
                <a:gd name="T77" fmla="*/ 19 h 38"/>
                <a:gd name="T78" fmla="*/ 419 w 625"/>
                <a:gd name="T79" fmla="*/ 37 h 38"/>
                <a:gd name="T80" fmla="*/ 430 w 625"/>
                <a:gd name="T81" fmla="*/ 13 h 38"/>
                <a:gd name="T82" fmla="*/ 438 w 625"/>
                <a:gd name="T83" fmla="*/ 17 h 38"/>
                <a:gd name="T84" fmla="*/ 436 w 625"/>
                <a:gd name="T85" fmla="*/ 27 h 38"/>
                <a:gd name="T86" fmla="*/ 449 w 625"/>
                <a:gd name="T87" fmla="*/ 13 h 38"/>
                <a:gd name="T88" fmla="*/ 484 w 625"/>
                <a:gd name="T89" fmla="*/ 28 h 38"/>
                <a:gd name="T90" fmla="*/ 479 w 625"/>
                <a:gd name="T91" fmla="*/ 12 h 38"/>
                <a:gd name="T92" fmla="*/ 473 w 625"/>
                <a:gd name="T93" fmla="*/ 28 h 38"/>
                <a:gd name="T94" fmla="*/ 522 w 625"/>
                <a:gd name="T95" fmla="*/ 33 h 38"/>
                <a:gd name="T96" fmla="*/ 520 w 625"/>
                <a:gd name="T97" fmla="*/ 11 h 38"/>
                <a:gd name="T98" fmla="*/ 512 w 625"/>
                <a:gd name="T99" fmla="*/ 21 h 38"/>
                <a:gd name="T100" fmla="*/ 551 w 625"/>
                <a:gd name="T101" fmla="*/ 35 h 38"/>
                <a:gd name="T102" fmla="*/ 527 w 625"/>
                <a:gd name="T103" fmla="*/ 37 h 38"/>
                <a:gd name="T104" fmla="*/ 547 w 625"/>
                <a:gd name="T105" fmla="*/ 18 h 38"/>
                <a:gd name="T106" fmla="*/ 563 w 625"/>
                <a:gd name="T107" fmla="*/ 11 h 38"/>
                <a:gd name="T108" fmla="*/ 580 w 625"/>
                <a:gd name="T109" fmla="*/ 19 h 38"/>
                <a:gd name="T110" fmla="*/ 590 w 625"/>
                <a:gd name="T111" fmla="*/ 35 h 38"/>
                <a:gd name="T112" fmla="*/ 599 w 625"/>
                <a:gd name="T113" fmla="*/ 22 h 38"/>
                <a:gd name="T114" fmla="*/ 604 w 625"/>
                <a:gd name="T115" fmla="*/ 37 h 38"/>
                <a:gd name="T116" fmla="*/ 625 w 625"/>
                <a:gd name="T117" fmla="*/ 19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625" h="38">
                  <a:moveTo>
                    <a:pt x="23" y="37"/>
                  </a:moveTo>
                  <a:cubicBezTo>
                    <a:pt x="23" y="36"/>
                    <a:pt x="23" y="36"/>
                    <a:pt x="23" y="36"/>
                  </a:cubicBezTo>
                  <a:cubicBezTo>
                    <a:pt x="23" y="35"/>
                    <a:pt x="23" y="35"/>
                    <a:pt x="23" y="35"/>
                  </a:cubicBezTo>
                  <a:cubicBezTo>
                    <a:pt x="19" y="34"/>
                    <a:pt x="19" y="34"/>
                    <a:pt x="19" y="28"/>
                  </a:cubicBezTo>
                  <a:cubicBezTo>
                    <a:pt x="19" y="4"/>
                    <a:pt x="19" y="4"/>
                    <a:pt x="19" y="4"/>
                  </a:cubicBezTo>
                  <a:cubicBezTo>
                    <a:pt x="19" y="3"/>
                    <a:pt x="19" y="3"/>
                    <a:pt x="19" y="3"/>
                  </a:cubicBezTo>
                  <a:cubicBezTo>
                    <a:pt x="23" y="3"/>
                    <a:pt x="23" y="3"/>
                    <a:pt x="23" y="3"/>
                  </a:cubicBezTo>
                  <a:cubicBezTo>
                    <a:pt x="27" y="3"/>
                    <a:pt x="30" y="4"/>
                    <a:pt x="30" y="10"/>
                  </a:cubicBezTo>
                  <a:cubicBezTo>
                    <a:pt x="30" y="10"/>
                    <a:pt x="31" y="10"/>
                    <a:pt x="31" y="10"/>
                  </a:cubicBezTo>
                  <a:cubicBezTo>
                    <a:pt x="32" y="10"/>
                    <a:pt x="32" y="10"/>
                    <a:pt x="32" y="10"/>
                  </a:cubicBezTo>
                  <a:cubicBezTo>
                    <a:pt x="32" y="8"/>
                    <a:pt x="32" y="3"/>
                    <a:pt x="32" y="1"/>
                  </a:cubicBezTo>
                  <a:cubicBezTo>
                    <a:pt x="30" y="1"/>
                    <a:pt x="27" y="1"/>
                    <a:pt x="23" y="1"/>
                  </a:cubicBezTo>
                  <a:cubicBezTo>
                    <a:pt x="10" y="1"/>
                    <a:pt x="10" y="1"/>
                    <a:pt x="10" y="1"/>
                  </a:cubicBezTo>
                  <a:cubicBezTo>
                    <a:pt x="6" y="1"/>
                    <a:pt x="3" y="1"/>
                    <a:pt x="0" y="1"/>
                  </a:cubicBezTo>
                  <a:cubicBezTo>
                    <a:pt x="0" y="3"/>
                    <a:pt x="0" y="9"/>
                    <a:pt x="0" y="11"/>
                  </a:cubicBezTo>
                  <a:cubicBezTo>
                    <a:pt x="2" y="11"/>
                    <a:pt x="2" y="11"/>
                    <a:pt x="2" y="11"/>
                  </a:cubicBezTo>
                  <a:cubicBezTo>
                    <a:pt x="2" y="11"/>
                    <a:pt x="2" y="11"/>
                    <a:pt x="2" y="11"/>
                  </a:cubicBezTo>
                  <a:cubicBezTo>
                    <a:pt x="3" y="4"/>
                    <a:pt x="5" y="3"/>
                    <a:pt x="10" y="3"/>
                  </a:cubicBezTo>
                  <a:cubicBezTo>
                    <a:pt x="13" y="3"/>
                    <a:pt x="13" y="3"/>
                    <a:pt x="13" y="3"/>
                  </a:cubicBezTo>
                  <a:cubicBezTo>
                    <a:pt x="14" y="3"/>
                    <a:pt x="14" y="3"/>
                    <a:pt x="14" y="4"/>
                  </a:cubicBezTo>
                  <a:cubicBezTo>
                    <a:pt x="14" y="28"/>
                    <a:pt x="14" y="28"/>
                    <a:pt x="14" y="28"/>
                  </a:cubicBezTo>
                  <a:cubicBezTo>
                    <a:pt x="14" y="34"/>
                    <a:pt x="14" y="34"/>
                    <a:pt x="10" y="35"/>
                  </a:cubicBezTo>
                  <a:cubicBezTo>
                    <a:pt x="9" y="35"/>
                    <a:pt x="9" y="35"/>
                    <a:pt x="9" y="36"/>
                  </a:cubicBezTo>
                  <a:cubicBezTo>
                    <a:pt x="9" y="37"/>
                    <a:pt x="9" y="37"/>
                    <a:pt x="9" y="37"/>
                  </a:cubicBezTo>
                  <a:cubicBezTo>
                    <a:pt x="12" y="37"/>
                    <a:pt x="14" y="37"/>
                    <a:pt x="16" y="37"/>
                  </a:cubicBezTo>
                  <a:cubicBezTo>
                    <a:pt x="19" y="37"/>
                    <a:pt x="21" y="37"/>
                    <a:pt x="23" y="37"/>
                  </a:cubicBezTo>
                  <a:close/>
                  <a:moveTo>
                    <a:pt x="116" y="27"/>
                  </a:moveTo>
                  <a:cubicBezTo>
                    <a:pt x="116" y="21"/>
                    <a:pt x="110" y="18"/>
                    <a:pt x="104" y="18"/>
                  </a:cubicBezTo>
                  <a:cubicBezTo>
                    <a:pt x="104" y="18"/>
                    <a:pt x="104" y="18"/>
                    <a:pt x="104" y="18"/>
                  </a:cubicBezTo>
                  <a:cubicBezTo>
                    <a:pt x="109" y="17"/>
                    <a:pt x="112" y="14"/>
                    <a:pt x="112" y="9"/>
                  </a:cubicBezTo>
                  <a:cubicBezTo>
                    <a:pt x="112" y="3"/>
                    <a:pt x="105" y="1"/>
                    <a:pt x="99" y="1"/>
                  </a:cubicBezTo>
                  <a:cubicBezTo>
                    <a:pt x="97" y="1"/>
                    <a:pt x="96" y="1"/>
                    <a:pt x="94" y="1"/>
                  </a:cubicBezTo>
                  <a:cubicBezTo>
                    <a:pt x="91" y="1"/>
                    <a:pt x="89" y="1"/>
                    <a:pt x="87" y="1"/>
                  </a:cubicBezTo>
                  <a:cubicBezTo>
                    <a:pt x="87" y="2"/>
                    <a:pt x="87" y="2"/>
                    <a:pt x="87" y="2"/>
                  </a:cubicBezTo>
                  <a:cubicBezTo>
                    <a:pt x="87" y="3"/>
                    <a:pt x="87" y="3"/>
                    <a:pt x="87" y="3"/>
                  </a:cubicBezTo>
                  <a:cubicBezTo>
                    <a:pt x="91" y="3"/>
                    <a:pt x="91" y="3"/>
                    <a:pt x="91" y="10"/>
                  </a:cubicBezTo>
                  <a:cubicBezTo>
                    <a:pt x="91" y="28"/>
                    <a:pt x="91" y="28"/>
                    <a:pt x="91" y="28"/>
                  </a:cubicBezTo>
                  <a:cubicBezTo>
                    <a:pt x="91" y="34"/>
                    <a:pt x="91" y="34"/>
                    <a:pt x="87" y="35"/>
                  </a:cubicBezTo>
                  <a:cubicBezTo>
                    <a:pt x="87" y="35"/>
                    <a:pt x="87" y="35"/>
                    <a:pt x="87" y="36"/>
                  </a:cubicBezTo>
                  <a:cubicBezTo>
                    <a:pt x="87" y="37"/>
                    <a:pt x="87" y="37"/>
                    <a:pt x="87" y="37"/>
                  </a:cubicBezTo>
                  <a:cubicBezTo>
                    <a:pt x="89" y="37"/>
                    <a:pt x="91" y="37"/>
                    <a:pt x="94" y="37"/>
                  </a:cubicBezTo>
                  <a:cubicBezTo>
                    <a:pt x="97" y="37"/>
                    <a:pt x="98" y="37"/>
                    <a:pt x="101" y="37"/>
                  </a:cubicBezTo>
                  <a:cubicBezTo>
                    <a:pt x="110" y="37"/>
                    <a:pt x="116" y="32"/>
                    <a:pt x="116" y="27"/>
                  </a:cubicBezTo>
                  <a:close/>
                  <a:moveTo>
                    <a:pt x="110" y="27"/>
                  </a:moveTo>
                  <a:cubicBezTo>
                    <a:pt x="110" y="32"/>
                    <a:pt x="107" y="35"/>
                    <a:pt x="101" y="35"/>
                  </a:cubicBezTo>
                  <a:cubicBezTo>
                    <a:pt x="96" y="35"/>
                    <a:pt x="96" y="34"/>
                    <a:pt x="96" y="27"/>
                  </a:cubicBezTo>
                  <a:cubicBezTo>
                    <a:pt x="96" y="19"/>
                    <a:pt x="96" y="19"/>
                    <a:pt x="96" y="19"/>
                  </a:cubicBezTo>
                  <a:cubicBezTo>
                    <a:pt x="98" y="19"/>
                    <a:pt x="98" y="19"/>
                    <a:pt x="98" y="19"/>
                  </a:cubicBezTo>
                  <a:cubicBezTo>
                    <a:pt x="106" y="19"/>
                    <a:pt x="110" y="21"/>
                    <a:pt x="110" y="27"/>
                  </a:cubicBezTo>
                  <a:close/>
                  <a:moveTo>
                    <a:pt x="107" y="10"/>
                  </a:moveTo>
                  <a:cubicBezTo>
                    <a:pt x="107" y="15"/>
                    <a:pt x="104" y="17"/>
                    <a:pt x="98" y="17"/>
                  </a:cubicBezTo>
                  <a:cubicBezTo>
                    <a:pt x="96" y="17"/>
                    <a:pt x="96" y="17"/>
                    <a:pt x="96" y="17"/>
                  </a:cubicBezTo>
                  <a:cubicBezTo>
                    <a:pt x="96" y="4"/>
                    <a:pt x="96" y="4"/>
                    <a:pt x="96" y="4"/>
                  </a:cubicBezTo>
                  <a:cubicBezTo>
                    <a:pt x="96" y="3"/>
                    <a:pt x="96" y="3"/>
                    <a:pt x="97" y="3"/>
                  </a:cubicBezTo>
                  <a:cubicBezTo>
                    <a:pt x="97" y="3"/>
                    <a:pt x="99" y="3"/>
                    <a:pt x="100" y="3"/>
                  </a:cubicBezTo>
                  <a:cubicBezTo>
                    <a:pt x="104" y="3"/>
                    <a:pt x="107" y="5"/>
                    <a:pt x="107" y="10"/>
                  </a:cubicBezTo>
                  <a:close/>
                  <a:moveTo>
                    <a:pt x="276" y="37"/>
                  </a:moveTo>
                  <a:cubicBezTo>
                    <a:pt x="276" y="35"/>
                    <a:pt x="276" y="28"/>
                    <a:pt x="276" y="26"/>
                  </a:cubicBezTo>
                  <a:cubicBezTo>
                    <a:pt x="274" y="26"/>
                    <a:pt x="274" y="26"/>
                    <a:pt x="274" y="26"/>
                  </a:cubicBezTo>
                  <a:cubicBezTo>
                    <a:pt x="274" y="26"/>
                    <a:pt x="274" y="26"/>
                    <a:pt x="274" y="26"/>
                  </a:cubicBezTo>
                  <a:cubicBezTo>
                    <a:pt x="273" y="33"/>
                    <a:pt x="270" y="35"/>
                    <a:pt x="264" y="35"/>
                  </a:cubicBezTo>
                  <a:cubicBezTo>
                    <a:pt x="257" y="35"/>
                    <a:pt x="253" y="29"/>
                    <a:pt x="253" y="19"/>
                  </a:cubicBezTo>
                  <a:cubicBezTo>
                    <a:pt x="253" y="11"/>
                    <a:pt x="254" y="2"/>
                    <a:pt x="263" y="2"/>
                  </a:cubicBezTo>
                  <a:cubicBezTo>
                    <a:pt x="268" y="2"/>
                    <a:pt x="271" y="5"/>
                    <a:pt x="272" y="11"/>
                  </a:cubicBezTo>
                  <a:cubicBezTo>
                    <a:pt x="272" y="11"/>
                    <a:pt x="272" y="11"/>
                    <a:pt x="272" y="11"/>
                  </a:cubicBezTo>
                  <a:cubicBezTo>
                    <a:pt x="274" y="11"/>
                    <a:pt x="274" y="11"/>
                    <a:pt x="274" y="11"/>
                  </a:cubicBezTo>
                  <a:cubicBezTo>
                    <a:pt x="274" y="9"/>
                    <a:pt x="274" y="3"/>
                    <a:pt x="274" y="0"/>
                  </a:cubicBezTo>
                  <a:cubicBezTo>
                    <a:pt x="273" y="0"/>
                    <a:pt x="273" y="0"/>
                    <a:pt x="273" y="0"/>
                  </a:cubicBezTo>
                  <a:cubicBezTo>
                    <a:pt x="272" y="0"/>
                    <a:pt x="272" y="0"/>
                    <a:pt x="272" y="1"/>
                  </a:cubicBezTo>
                  <a:cubicBezTo>
                    <a:pt x="271" y="2"/>
                    <a:pt x="271" y="2"/>
                    <a:pt x="271" y="2"/>
                  </a:cubicBezTo>
                  <a:cubicBezTo>
                    <a:pt x="271" y="2"/>
                    <a:pt x="271" y="2"/>
                    <a:pt x="271" y="2"/>
                  </a:cubicBezTo>
                  <a:cubicBezTo>
                    <a:pt x="269" y="1"/>
                    <a:pt x="266" y="0"/>
                    <a:pt x="263" y="0"/>
                  </a:cubicBezTo>
                  <a:cubicBezTo>
                    <a:pt x="253" y="0"/>
                    <a:pt x="247" y="8"/>
                    <a:pt x="247" y="19"/>
                  </a:cubicBezTo>
                  <a:cubicBezTo>
                    <a:pt x="247" y="31"/>
                    <a:pt x="254" y="38"/>
                    <a:pt x="264" y="38"/>
                  </a:cubicBezTo>
                  <a:cubicBezTo>
                    <a:pt x="269" y="38"/>
                    <a:pt x="272" y="36"/>
                    <a:pt x="273" y="36"/>
                  </a:cubicBezTo>
                  <a:cubicBezTo>
                    <a:pt x="273" y="36"/>
                    <a:pt x="273" y="36"/>
                    <a:pt x="273" y="36"/>
                  </a:cubicBezTo>
                  <a:cubicBezTo>
                    <a:pt x="274" y="37"/>
                    <a:pt x="274" y="37"/>
                    <a:pt x="274" y="37"/>
                  </a:cubicBezTo>
                  <a:cubicBezTo>
                    <a:pt x="274" y="37"/>
                    <a:pt x="274" y="37"/>
                    <a:pt x="275" y="37"/>
                  </a:cubicBezTo>
                  <a:lnTo>
                    <a:pt x="276" y="37"/>
                  </a:lnTo>
                  <a:close/>
                  <a:moveTo>
                    <a:pt x="48" y="37"/>
                  </a:moveTo>
                  <a:cubicBezTo>
                    <a:pt x="47" y="37"/>
                    <a:pt x="45" y="37"/>
                    <a:pt x="43" y="37"/>
                  </a:cubicBezTo>
                  <a:cubicBezTo>
                    <a:pt x="43" y="36"/>
                    <a:pt x="43" y="36"/>
                    <a:pt x="43" y="36"/>
                  </a:cubicBezTo>
                  <a:cubicBezTo>
                    <a:pt x="43" y="36"/>
                    <a:pt x="43" y="35"/>
                    <a:pt x="43" y="35"/>
                  </a:cubicBezTo>
                  <a:cubicBezTo>
                    <a:pt x="46" y="35"/>
                    <a:pt x="46" y="35"/>
                    <a:pt x="46" y="30"/>
                  </a:cubicBezTo>
                  <a:cubicBezTo>
                    <a:pt x="46" y="25"/>
                    <a:pt x="46" y="25"/>
                    <a:pt x="46" y="25"/>
                  </a:cubicBezTo>
                  <a:cubicBezTo>
                    <a:pt x="35" y="25"/>
                    <a:pt x="35" y="25"/>
                    <a:pt x="35" y="25"/>
                  </a:cubicBezTo>
                  <a:cubicBezTo>
                    <a:pt x="35" y="30"/>
                    <a:pt x="35" y="30"/>
                    <a:pt x="35" y="30"/>
                  </a:cubicBezTo>
                  <a:cubicBezTo>
                    <a:pt x="35" y="35"/>
                    <a:pt x="35" y="35"/>
                    <a:pt x="38" y="35"/>
                  </a:cubicBezTo>
                  <a:cubicBezTo>
                    <a:pt x="38" y="35"/>
                    <a:pt x="38" y="36"/>
                    <a:pt x="38" y="36"/>
                  </a:cubicBezTo>
                  <a:cubicBezTo>
                    <a:pt x="38" y="37"/>
                    <a:pt x="38" y="37"/>
                    <a:pt x="38" y="37"/>
                  </a:cubicBezTo>
                  <a:cubicBezTo>
                    <a:pt x="37" y="37"/>
                    <a:pt x="35" y="37"/>
                    <a:pt x="33" y="37"/>
                  </a:cubicBezTo>
                  <a:cubicBezTo>
                    <a:pt x="31" y="37"/>
                    <a:pt x="29" y="37"/>
                    <a:pt x="27" y="37"/>
                  </a:cubicBezTo>
                  <a:cubicBezTo>
                    <a:pt x="27" y="36"/>
                    <a:pt x="27" y="36"/>
                    <a:pt x="27" y="36"/>
                  </a:cubicBezTo>
                  <a:cubicBezTo>
                    <a:pt x="27" y="36"/>
                    <a:pt x="27" y="35"/>
                    <a:pt x="28" y="35"/>
                  </a:cubicBezTo>
                  <a:cubicBezTo>
                    <a:pt x="31" y="35"/>
                    <a:pt x="31" y="35"/>
                    <a:pt x="31" y="30"/>
                  </a:cubicBezTo>
                  <a:cubicBezTo>
                    <a:pt x="31" y="19"/>
                    <a:pt x="31" y="19"/>
                    <a:pt x="31" y="19"/>
                  </a:cubicBezTo>
                  <a:cubicBezTo>
                    <a:pt x="31" y="14"/>
                    <a:pt x="31" y="14"/>
                    <a:pt x="28" y="14"/>
                  </a:cubicBezTo>
                  <a:cubicBezTo>
                    <a:pt x="27" y="14"/>
                    <a:pt x="27" y="14"/>
                    <a:pt x="27" y="13"/>
                  </a:cubicBezTo>
                  <a:cubicBezTo>
                    <a:pt x="27" y="12"/>
                    <a:pt x="27" y="12"/>
                    <a:pt x="27" y="12"/>
                  </a:cubicBezTo>
                  <a:cubicBezTo>
                    <a:pt x="29" y="12"/>
                    <a:pt x="31" y="12"/>
                    <a:pt x="33" y="12"/>
                  </a:cubicBezTo>
                  <a:cubicBezTo>
                    <a:pt x="35" y="12"/>
                    <a:pt x="37" y="12"/>
                    <a:pt x="38" y="12"/>
                  </a:cubicBezTo>
                  <a:cubicBezTo>
                    <a:pt x="38" y="13"/>
                    <a:pt x="38" y="13"/>
                    <a:pt x="38" y="13"/>
                  </a:cubicBezTo>
                  <a:cubicBezTo>
                    <a:pt x="38" y="14"/>
                    <a:pt x="38" y="14"/>
                    <a:pt x="38" y="14"/>
                  </a:cubicBezTo>
                  <a:cubicBezTo>
                    <a:pt x="35" y="14"/>
                    <a:pt x="35" y="14"/>
                    <a:pt x="35" y="19"/>
                  </a:cubicBezTo>
                  <a:cubicBezTo>
                    <a:pt x="35" y="23"/>
                    <a:pt x="35" y="23"/>
                    <a:pt x="35" y="23"/>
                  </a:cubicBezTo>
                  <a:cubicBezTo>
                    <a:pt x="46" y="23"/>
                    <a:pt x="46" y="23"/>
                    <a:pt x="46" y="23"/>
                  </a:cubicBezTo>
                  <a:cubicBezTo>
                    <a:pt x="46" y="19"/>
                    <a:pt x="46" y="19"/>
                    <a:pt x="46" y="19"/>
                  </a:cubicBezTo>
                  <a:cubicBezTo>
                    <a:pt x="46" y="14"/>
                    <a:pt x="46" y="14"/>
                    <a:pt x="43" y="14"/>
                  </a:cubicBezTo>
                  <a:cubicBezTo>
                    <a:pt x="43" y="14"/>
                    <a:pt x="43" y="14"/>
                    <a:pt x="43" y="13"/>
                  </a:cubicBezTo>
                  <a:cubicBezTo>
                    <a:pt x="43" y="12"/>
                    <a:pt x="43" y="12"/>
                    <a:pt x="43" y="12"/>
                  </a:cubicBezTo>
                  <a:cubicBezTo>
                    <a:pt x="45" y="12"/>
                    <a:pt x="47" y="12"/>
                    <a:pt x="48" y="12"/>
                  </a:cubicBezTo>
                  <a:cubicBezTo>
                    <a:pt x="50" y="12"/>
                    <a:pt x="52" y="12"/>
                    <a:pt x="54" y="12"/>
                  </a:cubicBezTo>
                  <a:cubicBezTo>
                    <a:pt x="54" y="13"/>
                    <a:pt x="54" y="13"/>
                    <a:pt x="54" y="13"/>
                  </a:cubicBezTo>
                  <a:cubicBezTo>
                    <a:pt x="54" y="14"/>
                    <a:pt x="54" y="14"/>
                    <a:pt x="54" y="14"/>
                  </a:cubicBezTo>
                  <a:cubicBezTo>
                    <a:pt x="51" y="14"/>
                    <a:pt x="51" y="14"/>
                    <a:pt x="51" y="19"/>
                  </a:cubicBezTo>
                  <a:cubicBezTo>
                    <a:pt x="51" y="30"/>
                    <a:pt x="51" y="30"/>
                    <a:pt x="51" y="30"/>
                  </a:cubicBezTo>
                  <a:cubicBezTo>
                    <a:pt x="51" y="35"/>
                    <a:pt x="51" y="35"/>
                    <a:pt x="54" y="35"/>
                  </a:cubicBezTo>
                  <a:cubicBezTo>
                    <a:pt x="54" y="35"/>
                    <a:pt x="54" y="36"/>
                    <a:pt x="54" y="36"/>
                  </a:cubicBezTo>
                  <a:cubicBezTo>
                    <a:pt x="54" y="37"/>
                    <a:pt x="54" y="37"/>
                    <a:pt x="54" y="37"/>
                  </a:cubicBezTo>
                  <a:cubicBezTo>
                    <a:pt x="52" y="37"/>
                    <a:pt x="50" y="37"/>
                    <a:pt x="48" y="37"/>
                  </a:cubicBezTo>
                  <a:close/>
                  <a:moveTo>
                    <a:pt x="69" y="37"/>
                  </a:moveTo>
                  <a:cubicBezTo>
                    <a:pt x="62" y="37"/>
                    <a:pt x="62" y="37"/>
                    <a:pt x="62" y="37"/>
                  </a:cubicBezTo>
                  <a:cubicBezTo>
                    <a:pt x="60" y="37"/>
                    <a:pt x="58" y="37"/>
                    <a:pt x="56" y="37"/>
                  </a:cubicBezTo>
                  <a:cubicBezTo>
                    <a:pt x="56" y="36"/>
                    <a:pt x="56" y="36"/>
                    <a:pt x="56" y="36"/>
                  </a:cubicBezTo>
                  <a:cubicBezTo>
                    <a:pt x="56" y="36"/>
                    <a:pt x="56" y="35"/>
                    <a:pt x="56" y="35"/>
                  </a:cubicBezTo>
                  <a:cubicBezTo>
                    <a:pt x="59" y="35"/>
                    <a:pt x="59" y="35"/>
                    <a:pt x="59" y="30"/>
                  </a:cubicBezTo>
                  <a:cubicBezTo>
                    <a:pt x="59" y="19"/>
                    <a:pt x="59" y="19"/>
                    <a:pt x="59" y="19"/>
                  </a:cubicBezTo>
                  <a:cubicBezTo>
                    <a:pt x="59" y="14"/>
                    <a:pt x="59" y="14"/>
                    <a:pt x="56" y="14"/>
                  </a:cubicBezTo>
                  <a:cubicBezTo>
                    <a:pt x="56" y="14"/>
                    <a:pt x="56" y="14"/>
                    <a:pt x="56" y="13"/>
                  </a:cubicBezTo>
                  <a:cubicBezTo>
                    <a:pt x="56" y="12"/>
                    <a:pt x="56" y="12"/>
                    <a:pt x="56" y="12"/>
                  </a:cubicBezTo>
                  <a:cubicBezTo>
                    <a:pt x="58" y="12"/>
                    <a:pt x="60" y="12"/>
                    <a:pt x="62" y="12"/>
                  </a:cubicBezTo>
                  <a:cubicBezTo>
                    <a:pt x="67" y="12"/>
                    <a:pt x="67" y="12"/>
                    <a:pt x="67" y="12"/>
                  </a:cubicBezTo>
                  <a:cubicBezTo>
                    <a:pt x="71" y="12"/>
                    <a:pt x="73" y="12"/>
                    <a:pt x="74" y="12"/>
                  </a:cubicBezTo>
                  <a:cubicBezTo>
                    <a:pt x="74" y="14"/>
                    <a:pt x="74" y="17"/>
                    <a:pt x="74" y="19"/>
                  </a:cubicBezTo>
                  <a:cubicBezTo>
                    <a:pt x="73" y="19"/>
                    <a:pt x="73" y="19"/>
                    <a:pt x="73" y="19"/>
                  </a:cubicBezTo>
                  <a:cubicBezTo>
                    <a:pt x="73" y="19"/>
                    <a:pt x="73" y="19"/>
                    <a:pt x="73" y="19"/>
                  </a:cubicBezTo>
                  <a:cubicBezTo>
                    <a:pt x="72" y="15"/>
                    <a:pt x="71" y="14"/>
                    <a:pt x="68" y="14"/>
                  </a:cubicBezTo>
                  <a:cubicBezTo>
                    <a:pt x="64" y="14"/>
                    <a:pt x="64" y="14"/>
                    <a:pt x="64" y="14"/>
                  </a:cubicBezTo>
                  <a:cubicBezTo>
                    <a:pt x="64" y="14"/>
                    <a:pt x="64" y="14"/>
                    <a:pt x="64" y="15"/>
                  </a:cubicBezTo>
                  <a:cubicBezTo>
                    <a:pt x="64" y="23"/>
                    <a:pt x="64" y="23"/>
                    <a:pt x="64" y="23"/>
                  </a:cubicBezTo>
                  <a:cubicBezTo>
                    <a:pt x="64" y="23"/>
                    <a:pt x="64" y="23"/>
                    <a:pt x="64" y="23"/>
                  </a:cubicBezTo>
                  <a:cubicBezTo>
                    <a:pt x="67" y="23"/>
                    <a:pt x="68" y="23"/>
                    <a:pt x="68" y="20"/>
                  </a:cubicBezTo>
                  <a:cubicBezTo>
                    <a:pt x="68" y="20"/>
                    <a:pt x="68" y="20"/>
                    <a:pt x="69" y="20"/>
                  </a:cubicBezTo>
                  <a:cubicBezTo>
                    <a:pt x="70" y="20"/>
                    <a:pt x="70" y="20"/>
                    <a:pt x="70" y="20"/>
                  </a:cubicBezTo>
                  <a:cubicBezTo>
                    <a:pt x="70" y="21"/>
                    <a:pt x="70" y="23"/>
                    <a:pt x="70" y="24"/>
                  </a:cubicBezTo>
                  <a:cubicBezTo>
                    <a:pt x="70" y="26"/>
                    <a:pt x="70" y="27"/>
                    <a:pt x="70" y="28"/>
                  </a:cubicBezTo>
                  <a:cubicBezTo>
                    <a:pt x="69" y="28"/>
                    <a:pt x="69" y="28"/>
                    <a:pt x="69" y="28"/>
                  </a:cubicBezTo>
                  <a:cubicBezTo>
                    <a:pt x="68" y="28"/>
                    <a:pt x="68" y="28"/>
                    <a:pt x="68" y="28"/>
                  </a:cubicBezTo>
                  <a:cubicBezTo>
                    <a:pt x="68" y="25"/>
                    <a:pt x="67" y="25"/>
                    <a:pt x="64" y="25"/>
                  </a:cubicBezTo>
                  <a:cubicBezTo>
                    <a:pt x="64" y="25"/>
                    <a:pt x="64" y="25"/>
                    <a:pt x="64" y="25"/>
                  </a:cubicBezTo>
                  <a:cubicBezTo>
                    <a:pt x="64" y="30"/>
                    <a:pt x="64" y="30"/>
                    <a:pt x="64" y="30"/>
                  </a:cubicBezTo>
                  <a:cubicBezTo>
                    <a:pt x="64" y="35"/>
                    <a:pt x="64" y="35"/>
                    <a:pt x="67" y="35"/>
                  </a:cubicBezTo>
                  <a:cubicBezTo>
                    <a:pt x="69" y="35"/>
                    <a:pt x="69" y="35"/>
                    <a:pt x="69" y="35"/>
                  </a:cubicBezTo>
                  <a:cubicBezTo>
                    <a:pt x="72" y="35"/>
                    <a:pt x="74" y="34"/>
                    <a:pt x="75" y="30"/>
                  </a:cubicBezTo>
                  <a:cubicBezTo>
                    <a:pt x="75" y="30"/>
                    <a:pt x="75" y="30"/>
                    <a:pt x="75" y="30"/>
                  </a:cubicBezTo>
                  <a:cubicBezTo>
                    <a:pt x="76" y="30"/>
                    <a:pt x="76" y="30"/>
                    <a:pt x="76" y="30"/>
                  </a:cubicBezTo>
                  <a:cubicBezTo>
                    <a:pt x="76" y="31"/>
                    <a:pt x="76" y="35"/>
                    <a:pt x="76" y="37"/>
                  </a:cubicBezTo>
                  <a:cubicBezTo>
                    <a:pt x="74" y="37"/>
                    <a:pt x="72" y="37"/>
                    <a:pt x="69" y="37"/>
                  </a:cubicBezTo>
                  <a:close/>
                  <a:moveTo>
                    <a:pt x="130" y="38"/>
                  </a:moveTo>
                  <a:cubicBezTo>
                    <a:pt x="123" y="38"/>
                    <a:pt x="118" y="33"/>
                    <a:pt x="118" y="25"/>
                  </a:cubicBezTo>
                  <a:cubicBezTo>
                    <a:pt x="118" y="16"/>
                    <a:pt x="124" y="11"/>
                    <a:pt x="130" y="11"/>
                  </a:cubicBezTo>
                  <a:cubicBezTo>
                    <a:pt x="137" y="11"/>
                    <a:pt x="142" y="16"/>
                    <a:pt x="142" y="24"/>
                  </a:cubicBezTo>
                  <a:cubicBezTo>
                    <a:pt x="142" y="33"/>
                    <a:pt x="137" y="38"/>
                    <a:pt x="130" y="38"/>
                  </a:cubicBezTo>
                  <a:close/>
                  <a:moveTo>
                    <a:pt x="130" y="14"/>
                  </a:moveTo>
                  <a:cubicBezTo>
                    <a:pt x="125" y="14"/>
                    <a:pt x="123" y="17"/>
                    <a:pt x="123" y="25"/>
                  </a:cubicBezTo>
                  <a:cubicBezTo>
                    <a:pt x="123" y="32"/>
                    <a:pt x="126" y="36"/>
                    <a:pt x="130" y="36"/>
                  </a:cubicBezTo>
                  <a:cubicBezTo>
                    <a:pt x="135" y="36"/>
                    <a:pt x="137" y="32"/>
                    <a:pt x="137" y="24"/>
                  </a:cubicBezTo>
                  <a:cubicBezTo>
                    <a:pt x="137" y="17"/>
                    <a:pt x="134" y="14"/>
                    <a:pt x="130" y="14"/>
                  </a:cubicBezTo>
                  <a:close/>
                  <a:moveTo>
                    <a:pt x="146" y="36"/>
                  </a:moveTo>
                  <a:cubicBezTo>
                    <a:pt x="145" y="37"/>
                    <a:pt x="145" y="37"/>
                    <a:pt x="145" y="37"/>
                  </a:cubicBezTo>
                  <a:cubicBezTo>
                    <a:pt x="145" y="37"/>
                    <a:pt x="145" y="37"/>
                    <a:pt x="145" y="37"/>
                  </a:cubicBezTo>
                  <a:cubicBezTo>
                    <a:pt x="144" y="37"/>
                    <a:pt x="144" y="37"/>
                    <a:pt x="144" y="37"/>
                  </a:cubicBezTo>
                  <a:cubicBezTo>
                    <a:pt x="144" y="36"/>
                    <a:pt x="144" y="31"/>
                    <a:pt x="144" y="29"/>
                  </a:cubicBezTo>
                  <a:cubicBezTo>
                    <a:pt x="145" y="29"/>
                    <a:pt x="145" y="29"/>
                    <a:pt x="145" y="29"/>
                  </a:cubicBezTo>
                  <a:cubicBezTo>
                    <a:pt x="145" y="29"/>
                    <a:pt x="146" y="29"/>
                    <a:pt x="146" y="30"/>
                  </a:cubicBezTo>
                  <a:cubicBezTo>
                    <a:pt x="146" y="33"/>
                    <a:pt x="148" y="36"/>
                    <a:pt x="152" y="36"/>
                  </a:cubicBezTo>
                  <a:cubicBezTo>
                    <a:pt x="155" y="36"/>
                    <a:pt x="157" y="34"/>
                    <a:pt x="157" y="32"/>
                  </a:cubicBezTo>
                  <a:cubicBezTo>
                    <a:pt x="157" y="25"/>
                    <a:pt x="144" y="27"/>
                    <a:pt x="144" y="19"/>
                  </a:cubicBezTo>
                  <a:cubicBezTo>
                    <a:pt x="144" y="14"/>
                    <a:pt x="147" y="11"/>
                    <a:pt x="152" y="11"/>
                  </a:cubicBezTo>
                  <a:cubicBezTo>
                    <a:pt x="153" y="11"/>
                    <a:pt x="155" y="12"/>
                    <a:pt x="157" y="13"/>
                  </a:cubicBezTo>
                  <a:cubicBezTo>
                    <a:pt x="157" y="12"/>
                    <a:pt x="157" y="12"/>
                    <a:pt x="157" y="12"/>
                  </a:cubicBezTo>
                  <a:cubicBezTo>
                    <a:pt x="157" y="12"/>
                    <a:pt x="158" y="12"/>
                    <a:pt x="158" y="12"/>
                  </a:cubicBezTo>
                  <a:cubicBezTo>
                    <a:pt x="159" y="12"/>
                    <a:pt x="159" y="12"/>
                    <a:pt x="159" y="12"/>
                  </a:cubicBezTo>
                  <a:cubicBezTo>
                    <a:pt x="159" y="14"/>
                    <a:pt x="159" y="18"/>
                    <a:pt x="159" y="19"/>
                  </a:cubicBezTo>
                  <a:cubicBezTo>
                    <a:pt x="158" y="19"/>
                    <a:pt x="158" y="19"/>
                    <a:pt x="158" y="19"/>
                  </a:cubicBezTo>
                  <a:cubicBezTo>
                    <a:pt x="157" y="19"/>
                    <a:pt x="157" y="19"/>
                    <a:pt x="157" y="19"/>
                  </a:cubicBezTo>
                  <a:cubicBezTo>
                    <a:pt x="156" y="16"/>
                    <a:pt x="155" y="14"/>
                    <a:pt x="152" y="14"/>
                  </a:cubicBezTo>
                  <a:cubicBezTo>
                    <a:pt x="149" y="14"/>
                    <a:pt x="148" y="15"/>
                    <a:pt x="148" y="17"/>
                  </a:cubicBezTo>
                  <a:cubicBezTo>
                    <a:pt x="148" y="23"/>
                    <a:pt x="161" y="21"/>
                    <a:pt x="161" y="30"/>
                  </a:cubicBezTo>
                  <a:cubicBezTo>
                    <a:pt x="161" y="35"/>
                    <a:pt x="156" y="38"/>
                    <a:pt x="152" y="38"/>
                  </a:cubicBezTo>
                  <a:cubicBezTo>
                    <a:pt x="149" y="38"/>
                    <a:pt x="147" y="37"/>
                    <a:pt x="146" y="36"/>
                  </a:cubicBezTo>
                  <a:close/>
                  <a:moveTo>
                    <a:pt x="172" y="37"/>
                  </a:moveTo>
                  <a:cubicBezTo>
                    <a:pt x="171" y="37"/>
                    <a:pt x="168" y="37"/>
                    <a:pt x="167" y="37"/>
                  </a:cubicBezTo>
                  <a:cubicBezTo>
                    <a:pt x="167" y="36"/>
                    <a:pt x="167" y="36"/>
                    <a:pt x="167" y="36"/>
                  </a:cubicBezTo>
                  <a:cubicBezTo>
                    <a:pt x="167" y="36"/>
                    <a:pt x="167" y="35"/>
                    <a:pt x="167" y="35"/>
                  </a:cubicBezTo>
                  <a:cubicBezTo>
                    <a:pt x="170" y="35"/>
                    <a:pt x="170" y="35"/>
                    <a:pt x="170" y="30"/>
                  </a:cubicBezTo>
                  <a:cubicBezTo>
                    <a:pt x="170" y="15"/>
                    <a:pt x="170" y="15"/>
                    <a:pt x="170" y="15"/>
                  </a:cubicBezTo>
                  <a:cubicBezTo>
                    <a:pt x="170" y="14"/>
                    <a:pt x="170" y="14"/>
                    <a:pt x="170" y="14"/>
                  </a:cubicBezTo>
                  <a:cubicBezTo>
                    <a:pt x="168" y="14"/>
                    <a:pt x="168" y="14"/>
                    <a:pt x="168" y="14"/>
                  </a:cubicBezTo>
                  <a:cubicBezTo>
                    <a:pt x="165" y="14"/>
                    <a:pt x="163" y="14"/>
                    <a:pt x="163" y="19"/>
                  </a:cubicBezTo>
                  <a:cubicBezTo>
                    <a:pt x="162" y="19"/>
                    <a:pt x="162" y="19"/>
                    <a:pt x="162" y="19"/>
                  </a:cubicBezTo>
                  <a:cubicBezTo>
                    <a:pt x="161" y="19"/>
                    <a:pt x="161" y="19"/>
                    <a:pt x="161" y="19"/>
                  </a:cubicBezTo>
                  <a:cubicBezTo>
                    <a:pt x="161" y="18"/>
                    <a:pt x="161" y="14"/>
                    <a:pt x="161" y="12"/>
                  </a:cubicBezTo>
                  <a:cubicBezTo>
                    <a:pt x="163" y="12"/>
                    <a:pt x="165" y="12"/>
                    <a:pt x="168" y="12"/>
                  </a:cubicBezTo>
                  <a:cubicBezTo>
                    <a:pt x="177" y="12"/>
                    <a:pt x="177" y="12"/>
                    <a:pt x="177" y="12"/>
                  </a:cubicBezTo>
                  <a:cubicBezTo>
                    <a:pt x="180" y="12"/>
                    <a:pt x="182" y="12"/>
                    <a:pt x="184" y="12"/>
                  </a:cubicBezTo>
                  <a:cubicBezTo>
                    <a:pt x="184" y="14"/>
                    <a:pt x="184" y="18"/>
                    <a:pt x="184" y="19"/>
                  </a:cubicBezTo>
                  <a:cubicBezTo>
                    <a:pt x="183" y="19"/>
                    <a:pt x="183" y="19"/>
                    <a:pt x="183" y="19"/>
                  </a:cubicBezTo>
                  <a:cubicBezTo>
                    <a:pt x="182" y="19"/>
                    <a:pt x="182" y="19"/>
                    <a:pt x="182" y="19"/>
                  </a:cubicBezTo>
                  <a:cubicBezTo>
                    <a:pt x="182" y="14"/>
                    <a:pt x="180" y="14"/>
                    <a:pt x="177" y="14"/>
                  </a:cubicBezTo>
                  <a:cubicBezTo>
                    <a:pt x="175" y="14"/>
                    <a:pt x="175" y="14"/>
                    <a:pt x="175" y="14"/>
                  </a:cubicBezTo>
                  <a:cubicBezTo>
                    <a:pt x="175" y="14"/>
                    <a:pt x="175" y="14"/>
                    <a:pt x="175" y="15"/>
                  </a:cubicBezTo>
                  <a:cubicBezTo>
                    <a:pt x="175" y="30"/>
                    <a:pt x="175" y="30"/>
                    <a:pt x="175" y="30"/>
                  </a:cubicBezTo>
                  <a:cubicBezTo>
                    <a:pt x="175" y="35"/>
                    <a:pt x="175" y="35"/>
                    <a:pt x="178" y="35"/>
                  </a:cubicBezTo>
                  <a:cubicBezTo>
                    <a:pt x="178" y="35"/>
                    <a:pt x="178" y="36"/>
                    <a:pt x="178" y="36"/>
                  </a:cubicBezTo>
                  <a:cubicBezTo>
                    <a:pt x="178" y="37"/>
                    <a:pt x="178" y="37"/>
                    <a:pt x="178" y="37"/>
                  </a:cubicBezTo>
                  <a:cubicBezTo>
                    <a:pt x="176" y="37"/>
                    <a:pt x="174" y="37"/>
                    <a:pt x="172" y="37"/>
                  </a:cubicBezTo>
                  <a:close/>
                  <a:moveTo>
                    <a:pt x="196" y="38"/>
                  </a:moveTo>
                  <a:cubicBezTo>
                    <a:pt x="189" y="38"/>
                    <a:pt x="184" y="33"/>
                    <a:pt x="184" y="25"/>
                  </a:cubicBezTo>
                  <a:cubicBezTo>
                    <a:pt x="184" y="16"/>
                    <a:pt x="190" y="11"/>
                    <a:pt x="196" y="11"/>
                  </a:cubicBezTo>
                  <a:cubicBezTo>
                    <a:pt x="203" y="11"/>
                    <a:pt x="208" y="16"/>
                    <a:pt x="208" y="24"/>
                  </a:cubicBezTo>
                  <a:cubicBezTo>
                    <a:pt x="208" y="33"/>
                    <a:pt x="203" y="38"/>
                    <a:pt x="196" y="38"/>
                  </a:cubicBezTo>
                  <a:close/>
                  <a:moveTo>
                    <a:pt x="196" y="14"/>
                  </a:moveTo>
                  <a:cubicBezTo>
                    <a:pt x="191" y="14"/>
                    <a:pt x="189" y="17"/>
                    <a:pt x="189" y="25"/>
                  </a:cubicBezTo>
                  <a:cubicBezTo>
                    <a:pt x="189" y="32"/>
                    <a:pt x="192" y="36"/>
                    <a:pt x="197" y="36"/>
                  </a:cubicBezTo>
                  <a:cubicBezTo>
                    <a:pt x="201" y="36"/>
                    <a:pt x="203" y="32"/>
                    <a:pt x="203" y="24"/>
                  </a:cubicBezTo>
                  <a:cubicBezTo>
                    <a:pt x="203" y="17"/>
                    <a:pt x="200" y="14"/>
                    <a:pt x="196" y="14"/>
                  </a:cubicBezTo>
                  <a:close/>
                  <a:moveTo>
                    <a:pt x="230" y="38"/>
                  </a:moveTo>
                  <a:cubicBezTo>
                    <a:pt x="229" y="36"/>
                    <a:pt x="228" y="35"/>
                    <a:pt x="227" y="34"/>
                  </a:cubicBezTo>
                  <a:cubicBezTo>
                    <a:pt x="215" y="17"/>
                    <a:pt x="215" y="17"/>
                    <a:pt x="215" y="17"/>
                  </a:cubicBezTo>
                  <a:cubicBezTo>
                    <a:pt x="215" y="17"/>
                    <a:pt x="215" y="17"/>
                    <a:pt x="215" y="17"/>
                  </a:cubicBezTo>
                  <a:cubicBezTo>
                    <a:pt x="215" y="27"/>
                    <a:pt x="215" y="27"/>
                    <a:pt x="215" y="27"/>
                  </a:cubicBezTo>
                  <a:cubicBezTo>
                    <a:pt x="215" y="34"/>
                    <a:pt x="215" y="35"/>
                    <a:pt x="220" y="35"/>
                  </a:cubicBezTo>
                  <a:cubicBezTo>
                    <a:pt x="220" y="35"/>
                    <a:pt x="220" y="36"/>
                    <a:pt x="220" y="36"/>
                  </a:cubicBezTo>
                  <a:cubicBezTo>
                    <a:pt x="220" y="37"/>
                    <a:pt x="220" y="37"/>
                    <a:pt x="220" y="37"/>
                  </a:cubicBezTo>
                  <a:cubicBezTo>
                    <a:pt x="218" y="37"/>
                    <a:pt x="216" y="37"/>
                    <a:pt x="214" y="37"/>
                  </a:cubicBezTo>
                  <a:cubicBezTo>
                    <a:pt x="212" y="37"/>
                    <a:pt x="211" y="37"/>
                    <a:pt x="209" y="37"/>
                  </a:cubicBezTo>
                  <a:cubicBezTo>
                    <a:pt x="209" y="36"/>
                    <a:pt x="209" y="36"/>
                    <a:pt x="209" y="36"/>
                  </a:cubicBezTo>
                  <a:cubicBezTo>
                    <a:pt x="209" y="36"/>
                    <a:pt x="209" y="35"/>
                    <a:pt x="210" y="35"/>
                  </a:cubicBezTo>
                  <a:cubicBezTo>
                    <a:pt x="213" y="35"/>
                    <a:pt x="213" y="34"/>
                    <a:pt x="213" y="27"/>
                  </a:cubicBezTo>
                  <a:cubicBezTo>
                    <a:pt x="213" y="19"/>
                    <a:pt x="213" y="19"/>
                    <a:pt x="213" y="19"/>
                  </a:cubicBezTo>
                  <a:cubicBezTo>
                    <a:pt x="213" y="14"/>
                    <a:pt x="213" y="14"/>
                    <a:pt x="210" y="14"/>
                  </a:cubicBezTo>
                  <a:cubicBezTo>
                    <a:pt x="209" y="14"/>
                    <a:pt x="209" y="14"/>
                    <a:pt x="209" y="13"/>
                  </a:cubicBezTo>
                  <a:cubicBezTo>
                    <a:pt x="209" y="12"/>
                    <a:pt x="209" y="12"/>
                    <a:pt x="209" y="12"/>
                  </a:cubicBezTo>
                  <a:cubicBezTo>
                    <a:pt x="211" y="12"/>
                    <a:pt x="213" y="12"/>
                    <a:pt x="214" y="12"/>
                  </a:cubicBezTo>
                  <a:cubicBezTo>
                    <a:pt x="215" y="12"/>
                    <a:pt x="217" y="12"/>
                    <a:pt x="218" y="12"/>
                  </a:cubicBezTo>
                  <a:cubicBezTo>
                    <a:pt x="230" y="30"/>
                    <a:pt x="230" y="30"/>
                    <a:pt x="230" y="30"/>
                  </a:cubicBezTo>
                  <a:cubicBezTo>
                    <a:pt x="230" y="30"/>
                    <a:pt x="230" y="30"/>
                    <a:pt x="230" y="30"/>
                  </a:cubicBezTo>
                  <a:cubicBezTo>
                    <a:pt x="230" y="22"/>
                    <a:pt x="230" y="22"/>
                    <a:pt x="230" y="22"/>
                  </a:cubicBezTo>
                  <a:cubicBezTo>
                    <a:pt x="230" y="15"/>
                    <a:pt x="230" y="14"/>
                    <a:pt x="226" y="14"/>
                  </a:cubicBezTo>
                  <a:cubicBezTo>
                    <a:pt x="226" y="14"/>
                    <a:pt x="226" y="14"/>
                    <a:pt x="226" y="13"/>
                  </a:cubicBezTo>
                  <a:cubicBezTo>
                    <a:pt x="226" y="12"/>
                    <a:pt x="226" y="12"/>
                    <a:pt x="226" y="12"/>
                  </a:cubicBezTo>
                  <a:cubicBezTo>
                    <a:pt x="227" y="12"/>
                    <a:pt x="230" y="12"/>
                    <a:pt x="232" y="12"/>
                  </a:cubicBezTo>
                  <a:cubicBezTo>
                    <a:pt x="233" y="12"/>
                    <a:pt x="235" y="12"/>
                    <a:pt x="236" y="12"/>
                  </a:cubicBezTo>
                  <a:cubicBezTo>
                    <a:pt x="236" y="13"/>
                    <a:pt x="236" y="13"/>
                    <a:pt x="236" y="13"/>
                  </a:cubicBezTo>
                  <a:cubicBezTo>
                    <a:pt x="236" y="14"/>
                    <a:pt x="236" y="14"/>
                    <a:pt x="236" y="14"/>
                  </a:cubicBezTo>
                  <a:cubicBezTo>
                    <a:pt x="233" y="14"/>
                    <a:pt x="233" y="15"/>
                    <a:pt x="233" y="22"/>
                  </a:cubicBezTo>
                  <a:cubicBezTo>
                    <a:pt x="233" y="38"/>
                    <a:pt x="233" y="38"/>
                    <a:pt x="233" y="38"/>
                  </a:cubicBezTo>
                  <a:lnTo>
                    <a:pt x="230" y="38"/>
                  </a:lnTo>
                  <a:close/>
                  <a:moveTo>
                    <a:pt x="290" y="38"/>
                  </a:moveTo>
                  <a:cubicBezTo>
                    <a:pt x="284" y="38"/>
                    <a:pt x="278" y="33"/>
                    <a:pt x="278" y="25"/>
                  </a:cubicBezTo>
                  <a:cubicBezTo>
                    <a:pt x="278" y="16"/>
                    <a:pt x="284" y="11"/>
                    <a:pt x="290" y="11"/>
                  </a:cubicBezTo>
                  <a:cubicBezTo>
                    <a:pt x="297" y="11"/>
                    <a:pt x="302" y="16"/>
                    <a:pt x="302" y="24"/>
                  </a:cubicBezTo>
                  <a:cubicBezTo>
                    <a:pt x="302" y="33"/>
                    <a:pt x="297" y="38"/>
                    <a:pt x="290" y="38"/>
                  </a:cubicBezTo>
                  <a:close/>
                  <a:moveTo>
                    <a:pt x="290" y="14"/>
                  </a:moveTo>
                  <a:cubicBezTo>
                    <a:pt x="285" y="14"/>
                    <a:pt x="283" y="17"/>
                    <a:pt x="283" y="25"/>
                  </a:cubicBezTo>
                  <a:cubicBezTo>
                    <a:pt x="283" y="32"/>
                    <a:pt x="286" y="36"/>
                    <a:pt x="291" y="36"/>
                  </a:cubicBezTo>
                  <a:cubicBezTo>
                    <a:pt x="295" y="36"/>
                    <a:pt x="298" y="32"/>
                    <a:pt x="298" y="24"/>
                  </a:cubicBezTo>
                  <a:cubicBezTo>
                    <a:pt x="298" y="17"/>
                    <a:pt x="294" y="14"/>
                    <a:pt x="290" y="14"/>
                  </a:cubicBezTo>
                  <a:close/>
                  <a:moveTo>
                    <a:pt x="324" y="38"/>
                  </a:moveTo>
                  <a:cubicBezTo>
                    <a:pt x="323" y="36"/>
                    <a:pt x="322" y="35"/>
                    <a:pt x="321" y="34"/>
                  </a:cubicBezTo>
                  <a:cubicBezTo>
                    <a:pt x="310" y="17"/>
                    <a:pt x="310" y="17"/>
                    <a:pt x="310" y="17"/>
                  </a:cubicBezTo>
                  <a:cubicBezTo>
                    <a:pt x="310" y="17"/>
                    <a:pt x="310" y="17"/>
                    <a:pt x="310" y="17"/>
                  </a:cubicBezTo>
                  <a:cubicBezTo>
                    <a:pt x="310" y="27"/>
                    <a:pt x="310" y="27"/>
                    <a:pt x="310" y="27"/>
                  </a:cubicBezTo>
                  <a:cubicBezTo>
                    <a:pt x="310" y="34"/>
                    <a:pt x="310" y="35"/>
                    <a:pt x="314" y="35"/>
                  </a:cubicBezTo>
                  <a:cubicBezTo>
                    <a:pt x="314" y="35"/>
                    <a:pt x="314" y="36"/>
                    <a:pt x="314" y="36"/>
                  </a:cubicBezTo>
                  <a:cubicBezTo>
                    <a:pt x="314" y="37"/>
                    <a:pt x="314" y="37"/>
                    <a:pt x="314" y="37"/>
                  </a:cubicBezTo>
                  <a:cubicBezTo>
                    <a:pt x="313" y="37"/>
                    <a:pt x="310" y="37"/>
                    <a:pt x="308" y="37"/>
                  </a:cubicBezTo>
                  <a:cubicBezTo>
                    <a:pt x="306" y="37"/>
                    <a:pt x="305" y="37"/>
                    <a:pt x="303" y="37"/>
                  </a:cubicBezTo>
                  <a:cubicBezTo>
                    <a:pt x="303" y="36"/>
                    <a:pt x="303" y="36"/>
                    <a:pt x="303" y="36"/>
                  </a:cubicBezTo>
                  <a:cubicBezTo>
                    <a:pt x="303" y="36"/>
                    <a:pt x="304" y="35"/>
                    <a:pt x="304" y="35"/>
                  </a:cubicBezTo>
                  <a:cubicBezTo>
                    <a:pt x="307" y="35"/>
                    <a:pt x="307" y="34"/>
                    <a:pt x="307" y="27"/>
                  </a:cubicBezTo>
                  <a:cubicBezTo>
                    <a:pt x="307" y="19"/>
                    <a:pt x="307" y="19"/>
                    <a:pt x="307" y="19"/>
                  </a:cubicBezTo>
                  <a:cubicBezTo>
                    <a:pt x="307" y="14"/>
                    <a:pt x="307" y="14"/>
                    <a:pt x="304" y="14"/>
                  </a:cubicBezTo>
                  <a:cubicBezTo>
                    <a:pt x="304" y="14"/>
                    <a:pt x="303" y="14"/>
                    <a:pt x="303" y="13"/>
                  </a:cubicBezTo>
                  <a:cubicBezTo>
                    <a:pt x="303" y="12"/>
                    <a:pt x="303" y="12"/>
                    <a:pt x="303" y="12"/>
                  </a:cubicBezTo>
                  <a:cubicBezTo>
                    <a:pt x="305" y="12"/>
                    <a:pt x="307" y="12"/>
                    <a:pt x="308" y="12"/>
                  </a:cubicBezTo>
                  <a:cubicBezTo>
                    <a:pt x="309" y="12"/>
                    <a:pt x="311" y="12"/>
                    <a:pt x="312" y="12"/>
                  </a:cubicBezTo>
                  <a:cubicBezTo>
                    <a:pt x="324" y="30"/>
                    <a:pt x="324" y="30"/>
                    <a:pt x="324" y="30"/>
                  </a:cubicBezTo>
                  <a:cubicBezTo>
                    <a:pt x="324" y="30"/>
                    <a:pt x="324" y="30"/>
                    <a:pt x="324" y="30"/>
                  </a:cubicBezTo>
                  <a:cubicBezTo>
                    <a:pt x="324" y="22"/>
                    <a:pt x="324" y="22"/>
                    <a:pt x="324" y="22"/>
                  </a:cubicBezTo>
                  <a:cubicBezTo>
                    <a:pt x="324" y="15"/>
                    <a:pt x="324" y="14"/>
                    <a:pt x="320" y="14"/>
                  </a:cubicBezTo>
                  <a:cubicBezTo>
                    <a:pt x="320" y="14"/>
                    <a:pt x="320" y="14"/>
                    <a:pt x="320" y="13"/>
                  </a:cubicBezTo>
                  <a:cubicBezTo>
                    <a:pt x="320" y="12"/>
                    <a:pt x="320" y="12"/>
                    <a:pt x="320" y="12"/>
                  </a:cubicBezTo>
                  <a:cubicBezTo>
                    <a:pt x="321" y="12"/>
                    <a:pt x="324" y="12"/>
                    <a:pt x="326" y="12"/>
                  </a:cubicBezTo>
                  <a:cubicBezTo>
                    <a:pt x="328" y="12"/>
                    <a:pt x="329" y="12"/>
                    <a:pt x="330" y="12"/>
                  </a:cubicBezTo>
                  <a:cubicBezTo>
                    <a:pt x="330" y="13"/>
                    <a:pt x="330" y="13"/>
                    <a:pt x="330" y="13"/>
                  </a:cubicBezTo>
                  <a:cubicBezTo>
                    <a:pt x="330" y="14"/>
                    <a:pt x="330" y="14"/>
                    <a:pt x="330" y="14"/>
                  </a:cubicBezTo>
                  <a:cubicBezTo>
                    <a:pt x="327" y="14"/>
                    <a:pt x="327" y="15"/>
                    <a:pt x="327" y="22"/>
                  </a:cubicBezTo>
                  <a:cubicBezTo>
                    <a:pt x="327" y="38"/>
                    <a:pt x="327" y="38"/>
                    <a:pt x="327" y="38"/>
                  </a:cubicBezTo>
                  <a:lnTo>
                    <a:pt x="324" y="38"/>
                  </a:lnTo>
                  <a:close/>
                  <a:moveTo>
                    <a:pt x="335" y="36"/>
                  </a:moveTo>
                  <a:cubicBezTo>
                    <a:pt x="334" y="37"/>
                    <a:pt x="334" y="37"/>
                    <a:pt x="334" y="37"/>
                  </a:cubicBezTo>
                  <a:cubicBezTo>
                    <a:pt x="334" y="37"/>
                    <a:pt x="334" y="37"/>
                    <a:pt x="333" y="37"/>
                  </a:cubicBezTo>
                  <a:cubicBezTo>
                    <a:pt x="333" y="37"/>
                    <a:pt x="333" y="37"/>
                    <a:pt x="333" y="37"/>
                  </a:cubicBezTo>
                  <a:cubicBezTo>
                    <a:pt x="333" y="36"/>
                    <a:pt x="333" y="31"/>
                    <a:pt x="333" y="29"/>
                  </a:cubicBezTo>
                  <a:cubicBezTo>
                    <a:pt x="334" y="29"/>
                    <a:pt x="334" y="29"/>
                    <a:pt x="334" y="29"/>
                  </a:cubicBezTo>
                  <a:cubicBezTo>
                    <a:pt x="334" y="29"/>
                    <a:pt x="334" y="29"/>
                    <a:pt x="334" y="30"/>
                  </a:cubicBezTo>
                  <a:cubicBezTo>
                    <a:pt x="335" y="33"/>
                    <a:pt x="337" y="36"/>
                    <a:pt x="340" y="36"/>
                  </a:cubicBezTo>
                  <a:cubicBezTo>
                    <a:pt x="343" y="36"/>
                    <a:pt x="345" y="34"/>
                    <a:pt x="345" y="32"/>
                  </a:cubicBezTo>
                  <a:cubicBezTo>
                    <a:pt x="345" y="25"/>
                    <a:pt x="333" y="27"/>
                    <a:pt x="333" y="19"/>
                  </a:cubicBezTo>
                  <a:cubicBezTo>
                    <a:pt x="333" y="14"/>
                    <a:pt x="336" y="11"/>
                    <a:pt x="340" y="11"/>
                  </a:cubicBezTo>
                  <a:cubicBezTo>
                    <a:pt x="342" y="11"/>
                    <a:pt x="344" y="12"/>
                    <a:pt x="345" y="13"/>
                  </a:cubicBezTo>
                  <a:cubicBezTo>
                    <a:pt x="346" y="12"/>
                    <a:pt x="346" y="12"/>
                    <a:pt x="346" y="12"/>
                  </a:cubicBezTo>
                  <a:cubicBezTo>
                    <a:pt x="346" y="12"/>
                    <a:pt x="346" y="12"/>
                    <a:pt x="346" y="12"/>
                  </a:cubicBezTo>
                  <a:cubicBezTo>
                    <a:pt x="347" y="12"/>
                    <a:pt x="347" y="12"/>
                    <a:pt x="347" y="12"/>
                  </a:cubicBezTo>
                  <a:cubicBezTo>
                    <a:pt x="347" y="13"/>
                    <a:pt x="347" y="17"/>
                    <a:pt x="347" y="19"/>
                  </a:cubicBezTo>
                  <a:cubicBezTo>
                    <a:pt x="346" y="19"/>
                    <a:pt x="346" y="19"/>
                    <a:pt x="346" y="19"/>
                  </a:cubicBezTo>
                  <a:cubicBezTo>
                    <a:pt x="346" y="19"/>
                    <a:pt x="346" y="19"/>
                    <a:pt x="346" y="19"/>
                  </a:cubicBezTo>
                  <a:cubicBezTo>
                    <a:pt x="345" y="16"/>
                    <a:pt x="343" y="14"/>
                    <a:pt x="340" y="14"/>
                  </a:cubicBezTo>
                  <a:cubicBezTo>
                    <a:pt x="337" y="14"/>
                    <a:pt x="336" y="15"/>
                    <a:pt x="336" y="17"/>
                  </a:cubicBezTo>
                  <a:cubicBezTo>
                    <a:pt x="336" y="23"/>
                    <a:pt x="349" y="21"/>
                    <a:pt x="349" y="30"/>
                  </a:cubicBezTo>
                  <a:cubicBezTo>
                    <a:pt x="349" y="35"/>
                    <a:pt x="345" y="38"/>
                    <a:pt x="340" y="38"/>
                  </a:cubicBezTo>
                  <a:cubicBezTo>
                    <a:pt x="338" y="38"/>
                    <a:pt x="336" y="37"/>
                    <a:pt x="335" y="36"/>
                  </a:cubicBezTo>
                  <a:close/>
                  <a:moveTo>
                    <a:pt x="364" y="38"/>
                  </a:moveTo>
                  <a:cubicBezTo>
                    <a:pt x="357" y="38"/>
                    <a:pt x="354" y="35"/>
                    <a:pt x="354" y="28"/>
                  </a:cubicBezTo>
                  <a:cubicBezTo>
                    <a:pt x="354" y="19"/>
                    <a:pt x="354" y="19"/>
                    <a:pt x="354" y="19"/>
                  </a:cubicBezTo>
                  <a:cubicBezTo>
                    <a:pt x="354" y="14"/>
                    <a:pt x="354" y="14"/>
                    <a:pt x="350" y="14"/>
                  </a:cubicBezTo>
                  <a:cubicBezTo>
                    <a:pt x="350" y="14"/>
                    <a:pt x="350" y="14"/>
                    <a:pt x="350" y="13"/>
                  </a:cubicBezTo>
                  <a:cubicBezTo>
                    <a:pt x="350" y="12"/>
                    <a:pt x="350" y="12"/>
                    <a:pt x="350" y="12"/>
                  </a:cubicBezTo>
                  <a:cubicBezTo>
                    <a:pt x="352" y="12"/>
                    <a:pt x="354" y="12"/>
                    <a:pt x="356" y="12"/>
                  </a:cubicBezTo>
                  <a:cubicBezTo>
                    <a:pt x="357" y="12"/>
                    <a:pt x="360" y="12"/>
                    <a:pt x="361" y="12"/>
                  </a:cubicBezTo>
                  <a:cubicBezTo>
                    <a:pt x="361" y="13"/>
                    <a:pt x="361" y="13"/>
                    <a:pt x="361" y="13"/>
                  </a:cubicBezTo>
                  <a:cubicBezTo>
                    <a:pt x="361" y="14"/>
                    <a:pt x="361" y="14"/>
                    <a:pt x="361" y="14"/>
                  </a:cubicBezTo>
                  <a:cubicBezTo>
                    <a:pt x="358" y="14"/>
                    <a:pt x="358" y="14"/>
                    <a:pt x="358" y="19"/>
                  </a:cubicBezTo>
                  <a:cubicBezTo>
                    <a:pt x="358" y="29"/>
                    <a:pt x="358" y="29"/>
                    <a:pt x="358" y="29"/>
                  </a:cubicBezTo>
                  <a:cubicBezTo>
                    <a:pt x="358" y="33"/>
                    <a:pt x="360" y="35"/>
                    <a:pt x="364" y="35"/>
                  </a:cubicBezTo>
                  <a:cubicBezTo>
                    <a:pt x="369" y="35"/>
                    <a:pt x="371" y="33"/>
                    <a:pt x="371" y="28"/>
                  </a:cubicBezTo>
                  <a:cubicBezTo>
                    <a:pt x="371" y="22"/>
                    <a:pt x="371" y="22"/>
                    <a:pt x="371" y="22"/>
                  </a:cubicBezTo>
                  <a:cubicBezTo>
                    <a:pt x="371" y="15"/>
                    <a:pt x="371" y="14"/>
                    <a:pt x="366" y="14"/>
                  </a:cubicBezTo>
                  <a:cubicBezTo>
                    <a:pt x="366" y="14"/>
                    <a:pt x="366" y="14"/>
                    <a:pt x="366" y="13"/>
                  </a:cubicBezTo>
                  <a:cubicBezTo>
                    <a:pt x="366" y="12"/>
                    <a:pt x="366" y="12"/>
                    <a:pt x="366" y="12"/>
                  </a:cubicBezTo>
                  <a:cubicBezTo>
                    <a:pt x="368" y="12"/>
                    <a:pt x="370" y="12"/>
                    <a:pt x="372" y="12"/>
                  </a:cubicBezTo>
                  <a:cubicBezTo>
                    <a:pt x="374" y="12"/>
                    <a:pt x="374" y="12"/>
                    <a:pt x="376" y="12"/>
                  </a:cubicBezTo>
                  <a:cubicBezTo>
                    <a:pt x="376" y="13"/>
                    <a:pt x="376" y="13"/>
                    <a:pt x="376" y="13"/>
                  </a:cubicBezTo>
                  <a:cubicBezTo>
                    <a:pt x="376" y="14"/>
                    <a:pt x="376" y="14"/>
                    <a:pt x="376" y="14"/>
                  </a:cubicBezTo>
                  <a:cubicBezTo>
                    <a:pt x="373" y="14"/>
                    <a:pt x="373" y="15"/>
                    <a:pt x="373" y="22"/>
                  </a:cubicBezTo>
                  <a:cubicBezTo>
                    <a:pt x="373" y="28"/>
                    <a:pt x="373" y="28"/>
                    <a:pt x="373" y="28"/>
                  </a:cubicBezTo>
                  <a:cubicBezTo>
                    <a:pt x="373" y="35"/>
                    <a:pt x="370" y="38"/>
                    <a:pt x="364" y="38"/>
                  </a:cubicBezTo>
                  <a:close/>
                  <a:moveTo>
                    <a:pt x="392" y="37"/>
                  </a:moveTo>
                  <a:cubicBezTo>
                    <a:pt x="383" y="37"/>
                    <a:pt x="383" y="37"/>
                    <a:pt x="383" y="37"/>
                  </a:cubicBezTo>
                  <a:cubicBezTo>
                    <a:pt x="381" y="37"/>
                    <a:pt x="379" y="37"/>
                    <a:pt x="378" y="37"/>
                  </a:cubicBezTo>
                  <a:cubicBezTo>
                    <a:pt x="378" y="36"/>
                    <a:pt x="378" y="36"/>
                    <a:pt x="378" y="36"/>
                  </a:cubicBezTo>
                  <a:cubicBezTo>
                    <a:pt x="378" y="36"/>
                    <a:pt x="378" y="35"/>
                    <a:pt x="378" y="35"/>
                  </a:cubicBezTo>
                  <a:cubicBezTo>
                    <a:pt x="381" y="35"/>
                    <a:pt x="381" y="35"/>
                    <a:pt x="381" y="30"/>
                  </a:cubicBezTo>
                  <a:cubicBezTo>
                    <a:pt x="381" y="19"/>
                    <a:pt x="381" y="19"/>
                    <a:pt x="381" y="19"/>
                  </a:cubicBezTo>
                  <a:cubicBezTo>
                    <a:pt x="381" y="14"/>
                    <a:pt x="381" y="14"/>
                    <a:pt x="378" y="14"/>
                  </a:cubicBezTo>
                  <a:cubicBezTo>
                    <a:pt x="378" y="14"/>
                    <a:pt x="378" y="14"/>
                    <a:pt x="378" y="13"/>
                  </a:cubicBezTo>
                  <a:cubicBezTo>
                    <a:pt x="378" y="12"/>
                    <a:pt x="378" y="12"/>
                    <a:pt x="378" y="12"/>
                  </a:cubicBezTo>
                  <a:cubicBezTo>
                    <a:pt x="379" y="12"/>
                    <a:pt x="382" y="12"/>
                    <a:pt x="383" y="12"/>
                  </a:cubicBezTo>
                  <a:cubicBezTo>
                    <a:pt x="385" y="12"/>
                    <a:pt x="388" y="12"/>
                    <a:pt x="390" y="12"/>
                  </a:cubicBezTo>
                  <a:cubicBezTo>
                    <a:pt x="390" y="13"/>
                    <a:pt x="390" y="13"/>
                    <a:pt x="390" y="13"/>
                  </a:cubicBezTo>
                  <a:cubicBezTo>
                    <a:pt x="390" y="14"/>
                    <a:pt x="390" y="14"/>
                    <a:pt x="389" y="14"/>
                  </a:cubicBezTo>
                  <a:cubicBezTo>
                    <a:pt x="386" y="14"/>
                    <a:pt x="386" y="14"/>
                    <a:pt x="386" y="19"/>
                  </a:cubicBezTo>
                  <a:cubicBezTo>
                    <a:pt x="386" y="30"/>
                    <a:pt x="386" y="30"/>
                    <a:pt x="386" y="30"/>
                  </a:cubicBezTo>
                  <a:cubicBezTo>
                    <a:pt x="386" y="35"/>
                    <a:pt x="386" y="35"/>
                    <a:pt x="389" y="35"/>
                  </a:cubicBezTo>
                  <a:cubicBezTo>
                    <a:pt x="391" y="35"/>
                    <a:pt x="391" y="35"/>
                    <a:pt x="391" y="35"/>
                  </a:cubicBezTo>
                  <a:cubicBezTo>
                    <a:pt x="394" y="35"/>
                    <a:pt x="395" y="34"/>
                    <a:pt x="396" y="29"/>
                  </a:cubicBezTo>
                  <a:cubicBezTo>
                    <a:pt x="396" y="29"/>
                    <a:pt x="396" y="29"/>
                    <a:pt x="396" y="29"/>
                  </a:cubicBezTo>
                  <a:cubicBezTo>
                    <a:pt x="397" y="29"/>
                    <a:pt x="397" y="29"/>
                    <a:pt x="397" y="29"/>
                  </a:cubicBezTo>
                  <a:cubicBezTo>
                    <a:pt x="397" y="31"/>
                    <a:pt x="397" y="35"/>
                    <a:pt x="397" y="37"/>
                  </a:cubicBezTo>
                  <a:cubicBezTo>
                    <a:pt x="396" y="37"/>
                    <a:pt x="395" y="37"/>
                    <a:pt x="392" y="37"/>
                  </a:cubicBezTo>
                  <a:close/>
                  <a:moveTo>
                    <a:pt x="407" y="37"/>
                  </a:moveTo>
                  <a:cubicBezTo>
                    <a:pt x="405" y="37"/>
                    <a:pt x="403" y="37"/>
                    <a:pt x="401" y="37"/>
                  </a:cubicBezTo>
                  <a:cubicBezTo>
                    <a:pt x="401" y="36"/>
                    <a:pt x="401" y="36"/>
                    <a:pt x="401" y="36"/>
                  </a:cubicBezTo>
                  <a:cubicBezTo>
                    <a:pt x="401" y="36"/>
                    <a:pt x="401" y="35"/>
                    <a:pt x="401" y="35"/>
                  </a:cubicBezTo>
                  <a:cubicBezTo>
                    <a:pt x="404" y="35"/>
                    <a:pt x="404" y="35"/>
                    <a:pt x="404" y="30"/>
                  </a:cubicBezTo>
                  <a:cubicBezTo>
                    <a:pt x="404" y="15"/>
                    <a:pt x="404" y="15"/>
                    <a:pt x="404" y="15"/>
                  </a:cubicBezTo>
                  <a:cubicBezTo>
                    <a:pt x="404" y="14"/>
                    <a:pt x="404" y="14"/>
                    <a:pt x="404" y="14"/>
                  </a:cubicBezTo>
                  <a:cubicBezTo>
                    <a:pt x="402" y="14"/>
                    <a:pt x="402" y="14"/>
                    <a:pt x="402" y="14"/>
                  </a:cubicBezTo>
                  <a:cubicBezTo>
                    <a:pt x="399" y="14"/>
                    <a:pt x="397" y="14"/>
                    <a:pt x="397" y="19"/>
                  </a:cubicBezTo>
                  <a:cubicBezTo>
                    <a:pt x="397" y="19"/>
                    <a:pt x="397" y="19"/>
                    <a:pt x="396" y="19"/>
                  </a:cubicBezTo>
                  <a:cubicBezTo>
                    <a:pt x="395" y="19"/>
                    <a:pt x="395" y="19"/>
                    <a:pt x="395" y="19"/>
                  </a:cubicBezTo>
                  <a:cubicBezTo>
                    <a:pt x="395" y="18"/>
                    <a:pt x="395" y="14"/>
                    <a:pt x="395" y="12"/>
                  </a:cubicBezTo>
                  <a:cubicBezTo>
                    <a:pt x="397" y="12"/>
                    <a:pt x="399" y="12"/>
                    <a:pt x="402" y="12"/>
                  </a:cubicBezTo>
                  <a:cubicBezTo>
                    <a:pt x="411" y="12"/>
                    <a:pt x="411" y="12"/>
                    <a:pt x="411" y="12"/>
                  </a:cubicBezTo>
                  <a:cubicBezTo>
                    <a:pt x="414" y="12"/>
                    <a:pt x="416" y="12"/>
                    <a:pt x="418" y="12"/>
                  </a:cubicBezTo>
                  <a:cubicBezTo>
                    <a:pt x="418" y="14"/>
                    <a:pt x="418" y="18"/>
                    <a:pt x="418" y="19"/>
                  </a:cubicBezTo>
                  <a:cubicBezTo>
                    <a:pt x="417" y="19"/>
                    <a:pt x="417" y="19"/>
                    <a:pt x="417" y="19"/>
                  </a:cubicBezTo>
                  <a:cubicBezTo>
                    <a:pt x="417" y="19"/>
                    <a:pt x="416" y="19"/>
                    <a:pt x="416" y="19"/>
                  </a:cubicBezTo>
                  <a:cubicBezTo>
                    <a:pt x="416" y="14"/>
                    <a:pt x="414" y="14"/>
                    <a:pt x="411" y="14"/>
                  </a:cubicBezTo>
                  <a:cubicBezTo>
                    <a:pt x="409" y="14"/>
                    <a:pt x="409" y="14"/>
                    <a:pt x="409" y="14"/>
                  </a:cubicBezTo>
                  <a:cubicBezTo>
                    <a:pt x="409" y="14"/>
                    <a:pt x="409" y="14"/>
                    <a:pt x="409" y="15"/>
                  </a:cubicBezTo>
                  <a:cubicBezTo>
                    <a:pt x="409" y="30"/>
                    <a:pt x="409" y="30"/>
                    <a:pt x="409" y="30"/>
                  </a:cubicBezTo>
                  <a:cubicBezTo>
                    <a:pt x="409" y="35"/>
                    <a:pt x="409" y="35"/>
                    <a:pt x="412" y="35"/>
                  </a:cubicBezTo>
                  <a:cubicBezTo>
                    <a:pt x="412" y="35"/>
                    <a:pt x="412" y="36"/>
                    <a:pt x="412" y="36"/>
                  </a:cubicBezTo>
                  <a:cubicBezTo>
                    <a:pt x="412" y="37"/>
                    <a:pt x="412" y="37"/>
                    <a:pt x="412" y="37"/>
                  </a:cubicBezTo>
                  <a:cubicBezTo>
                    <a:pt x="410" y="37"/>
                    <a:pt x="408" y="37"/>
                    <a:pt x="407" y="37"/>
                  </a:cubicBezTo>
                  <a:close/>
                  <a:moveTo>
                    <a:pt x="425" y="37"/>
                  </a:moveTo>
                  <a:cubicBezTo>
                    <a:pt x="423" y="37"/>
                    <a:pt x="421" y="37"/>
                    <a:pt x="419" y="37"/>
                  </a:cubicBezTo>
                  <a:cubicBezTo>
                    <a:pt x="419" y="36"/>
                    <a:pt x="419" y="36"/>
                    <a:pt x="419" y="36"/>
                  </a:cubicBezTo>
                  <a:cubicBezTo>
                    <a:pt x="419" y="36"/>
                    <a:pt x="419" y="35"/>
                    <a:pt x="420" y="35"/>
                  </a:cubicBezTo>
                  <a:cubicBezTo>
                    <a:pt x="423" y="35"/>
                    <a:pt x="423" y="35"/>
                    <a:pt x="423" y="30"/>
                  </a:cubicBezTo>
                  <a:cubicBezTo>
                    <a:pt x="423" y="19"/>
                    <a:pt x="423" y="19"/>
                    <a:pt x="423" y="19"/>
                  </a:cubicBezTo>
                  <a:cubicBezTo>
                    <a:pt x="423" y="14"/>
                    <a:pt x="423" y="14"/>
                    <a:pt x="420" y="14"/>
                  </a:cubicBezTo>
                  <a:cubicBezTo>
                    <a:pt x="419" y="14"/>
                    <a:pt x="419" y="14"/>
                    <a:pt x="419" y="13"/>
                  </a:cubicBezTo>
                  <a:cubicBezTo>
                    <a:pt x="419" y="12"/>
                    <a:pt x="419" y="12"/>
                    <a:pt x="419" y="12"/>
                  </a:cubicBezTo>
                  <a:cubicBezTo>
                    <a:pt x="421" y="12"/>
                    <a:pt x="423" y="12"/>
                    <a:pt x="425" y="12"/>
                  </a:cubicBezTo>
                  <a:cubicBezTo>
                    <a:pt x="427" y="12"/>
                    <a:pt x="429" y="12"/>
                    <a:pt x="430" y="12"/>
                  </a:cubicBezTo>
                  <a:cubicBezTo>
                    <a:pt x="430" y="13"/>
                    <a:pt x="430" y="13"/>
                    <a:pt x="430" y="13"/>
                  </a:cubicBezTo>
                  <a:cubicBezTo>
                    <a:pt x="430" y="14"/>
                    <a:pt x="430" y="14"/>
                    <a:pt x="430" y="14"/>
                  </a:cubicBezTo>
                  <a:cubicBezTo>
                    <a:pt x="427" y="14"/>
                    <a:pt x="427" y="14"/>
                    <a:pt x="427" y="19"/>
                  </a:cubicBezTo>
                  <a:cubicBezTo>
                    <a:pt x="427" y="30"/>
                    <a:pt x="427" y="30"/>
                    <a:pt x="427" y="30"/>
                  </a:cubicBezTo>
                  <a:cubicBezTo>
                    <a:pt x="427" y="35"/>
                    <a:pt x="427" y="35"/>
                    <a:pt x="430" y="35"/>
                  </a:cubicBezTo>
                  <a:cubicBezTo>
                    <a:pt x="430" y="35"/>
                    <a:pt x="430" y="36"/>
                    <a:pt x="430" y="36"/>
                  </a:cubicBezTo>
                  <a:cubicBezTo>
                    <a:pt x="430" y="37"/>
                    <a:pt x="430" y="37"/>
                    <a:pt x="430" y="37"/>
                  </a:cubicBezTo>
                  <a:cubicBezTo>
                    <a:pt x="429" y="37"/>
                    <a:pt x="427" y="37"/>
                    <a:pt x="425" y="37"/>
                  </a:cubicBezTo>
                  <a:close/>
                  <a:moveTo>
                    <a:pt x="453" y="38"/>
                  </a:moveTo>
                  <a:cubicBezTo>
                    <a:pt x="452" y="36"/>
                    <a:pt x="451" y="35"/>
                    <a:pt x="450" y="34"/>
                  </a:cubicBezTo>
                  <a:cubicBezTo>
                    <a:pt x="438" y="17"/>
                    <a:pt x="438" y="17"/>
                    <a:pt x="438" y="17"/>
                  </a:cubicBezTo>
                  <a:cubicBezTo>
                    <a:pt x="438" y="17"/>
                    <a:pt x="438" y="17"/>
                    <a:pt x="438" y="17"/>
                  </a:cubicBezTo>
                  <a:cubicBezTo>
                    <a:pt x="438" y="27"/>
                    <a:pt x="438" y="27"/>
                    <a:pt x="438" y="27"/>
                  </a:cubicBezTo>
                  <a:cubicBezTo>
                    <a:pt x="438" y="34"/>
                    <a:pt x="438" y="35"/>
                    <a:pt x="443" y="35"/>
                  </a:cubicBezTo>
                  <a:cubicBezTo>
                    <a:pt x="443" y="35"/>
                    <a:pt x="443" y="36"/>
                    <a:pt x="443" y="36"/>
                  </a:cubicBezTo>
                  <a:cubicBezTo>
                    <a:pt x="443" y="37"/>
                    <a:pt x="443" y="37"/>
                    <a:pt x="443" y="37"/>
                  </a:cubicBezTo>
                  <a:cubicBezTo>
                    <a:pt x="441" y="37"/>
                    <a:pt x="439" y="37"/>
                    <a:pt x="437" y="37"/>
                  </a:cubicBezTo>
                  <a:cubicBezTo>
                    <a:pt x="435" y="37"/>
                    <a:pt x="434" y="37"/>
                    <a:pt x="432" y="37"/>
                  </a:cubicBezTo>
                  <a:cubicBezTo>
                    <a:pt x="432" y="36"/>
                    <a:pt x="432" y="36"/>
                    <a:pt x="432" y="36"/>
                  </a:cubicBezTo>
                  <a:cubicBezTo>
                    <a:pt x="432" y="36"/>
                    <a:pt x="432" y="35"/>
                    <a:pt x="433" y="35"/>
                  </a:cubicBezTo>
                  <a:cubicBezTo>
                    <a:pt x="436" y="35"/>
                    <a:pt x="436" y="34"/>
                    <a:pt x="436" y="27"/>
                  </a:cubicBezTo>
                  <a:cubicBezTo>
                    <a:pt x="436" y="19"/>
                    <a:pt x="436" y="19"/>
                    <a:pt x="436" y="19"/>
                  </a:cubicBezTo>
                  <a:cubicBezTo>
                    <a:pt x="436" y="14"/>
                    <a:pt x="436" y="14"/>
                    <a:pt x="433" y="14"/>
                  </a:cubicBezTo>
                  <a:cubicBezTo>
                    <a:pt x="432" y="14"/>
                    <a:pt x="432" y="14"/>
                    <a:pt x="432" y="13"/>
                  </a:cubicBezTo>
                  <a:cubicBezTo>
                    <a:pt x="432" y="12"/>
                    <a:pt x="432" y="12"/>
                    <a:pt x="432" y="12"/>
                  </a:cubicBezTo>
                  <a:cubicBezTo>
                    <a:pt x="434" y="12"/>
                    <a:pt x="436" y="12"/>
                    <a:pt x="437" y="12"/>
                  </a:cubicBezTo>
                  <a:cubicBezTo>
                    <a:pt x="438" y="12"/>
                    <a:pt x="439" y="12"/>
                    <a:pt x="440" y="12"/>
                  </a:cubicBezTo>
                  <a:cubicBezTo>
                    <a:pt x="453" y="30"/>
                    <a:pt x="453" y="30"/>
                    <a:pt x="453" y="30"/>
                  </a:cubicBezTo>
                  <a:cubicBezTo>
                    <a:pt x="453" y="22"/>
                    <a:pt x="453" y="22"/>
                    <a:pt x="453" y="22"/>
                  </a:cubicBezTo>
                  <a:cubicBezTo>
                    <a:pt x="453" y="15"/>
                    <a:pt x="453" y="14"/>
                    <a:pt x="449" y="14"/>
                  </a:cubicBezTo>
                  <a:cubicBezTo>
                    <a:pt x="449" y="14"/>
                    <a:pt x="449" y="14"/>
                    <a:pt x="449" y="13"/>
                  </a:cubicBezTo>
                  <a:cubicBezTo>
                    <a:pt x="449" y="12"/>
                    <a:pt x="449" y="12"/>
                    <a:pt x="449" y="12"/>
                  </a:cubicBezTo>
                  <a:cubicBezTo>
                    <a:pt x="450" y="12"/>
                    <a:pt x="453" y="12"/>
                    <a:pt x="455" y="12"/>
                  </a:cubicBezTo>
                  <a:cubicBezTo>
                    <a:pt x="456" y="12"/>
                    <a:pt x="458" y="12"/>
                    <a:pt x="459" y="12"/>
                  </a:cubicBezTo>
                  <a:cubicBezTo>
                    <a:pt x="459" y="13"/>
                    <a:pt x="459" y="13"/>
                    <a:pt x="459" y="13"/>
                  </a:cubicBezTo>
                  <a:cubicBezTo>
                    <a:pt x="459" y="14"/>
                    <a:pt x="459" y="14"/>
                    <a:pt x="459" y="14"/>
                  </a:cubicBezTo>
                  <a:cubicBezTo>
                    <a:pt x="456" y="14"/>
                    <a:pt x="456" y="15"/>
                    <a:pt x="456" y="22"/>
                  </a:cubicBezTo>
                  <a:cubicBezTo>
                    <a:pt x="456" y="38"/>
                    <a:pt x="456" y="38"/>
                    <a:pt x="456" y="38"/>
                  </a:cubicBezTo>
                  <a:lnTo>
                    <a:pt x="453" y="38"/>
                  </a:lnTo>
                  <a:close/>
                  <a:moveTo>
                    <a:pt x="484" y="27"/>
                  </a:moveTo>
                  <a:cubicBezTo>
                    <a:pt x="484" y="28"/>
                    <a:pt x="484" y="28"/>
                    <a:pt x="484" y="28"/>
                  </a:cubicBezTo>
                  <a:cubicBezTo>
                    <a:pt x="481" y="28"/>
                    <a:pt x="481" y="28"/>
                    <a:pt x="481" y="31"/>
                  </a:cubicBezTo>
                  <a:cubicBezTo>
                    <a:pt x="481" y="32"/>
                    <a:pt x="481" y="32"/>
                    <a:pt x="481" y="32"/>
                  </a:cubicBezTo>
                  <a:cubicBezTo>
                    <a:pt x="481" y="33"/>
                    <a:pt x="482" y="34"/>
                    <a:pt x="482" y="34"/>
                  </a:cubicBezTo>
                  <a:cubicBezTo>
                    <a:pt x="482" y="35"/>
                    <a:pt x="481" y="35"/>
                    <a:pt x="481" y="35"/>
                  </a:cubicBezTo>
                  <a:cubicBezTo>
                    <a:pt x="479" y="35"/>
                    <a:pt x="478" y="38"/>
                    <a:pt x="472" y="38"/>
                  </a:cubicBezTo>
                  <a:cubicBezTo>
                    <a:pt x="465" y="38"/>
                    <a:pt x="460" y="33"/>
                    <a:pt x="460" y="24"/>
                  </a:cubicBezTo>
                  <a:cubicBezTo>
                    <a:pt x="460" y="17"/>
                    <a:pt x="464" y="11"/>
                    <a:pt x="472" y="11"/>
                  </a:cubicBezTo>
                  <a:cubicBezTo>
                    <a:pt x="475" y="11"/>
                    <a:pt x="477" y="12"/>
                    <a:pt x="478" y="13"/>
                  </a:cubicBezTo>
                  <a:cubicBezTo>
                    <a:pt x="479" y="12"/>
                    <a:pt x="479" y="12"/>
                    <a:pt x="479" y="12"/>
                  </a:cubicBezTo>
                  <a:cubicBezTo>
                    <a:pt x="479" y="12"/>
                    <a:pt x="479" y="12"/>
                    <a:pt x="479" y="12"/>
                  </a:cubicBezTo>
                  <a:cubicBezTo>
                    <a:pt x="480" y="12"/>
                    <a:pt x="480" y="12"/>
                    <a:pt x="480" y="12"/>
                  </a:cubicBezTo>
                  <a:cubicBezTo>
                    <a:pt x="480" y="13"/>
                    <a:pt x="480" y="18"/>
                    <a:pt x="480" y="19"/>
                  </a:cubicBezTo>
                  <a:cubicBezTo>
                    <a:pt x="479" y="19"/>
                    <a:pt x="479" y="19"/>
                    <a:pt x="479" y="19"/>
                  </a:cubicBezTo>
                  <a:cubicBezTo>
                    <a:pt x="479" y="19"/>
                    <a:pt x="478" y="19"/>
                    <a:pt x="478" y="19"/>
                  </a:cubicBezTo>
                  <a:cubicBezTo>
                    <a:pt x="478" y="15"/>
                    <a:pt x="476" y="14"/>
                    <a:pt x="472" y="14"/>
                  </a:cubicBezTo>
                  <a:cubicBezTo>
                    <a:pt x="466" y="14"/>
                    <a:pt x="465" y="19"/>
                    <a:pt x="465" y="24"/>
                  </a:cubicBezTo>
                  <a:cubicBezTo>
                    <a:pt x="465" y="30"/>
                    <a:pt x="467" y="36"/>
                    <a:pt x="473" y="36"/>
                  </a:cubicBezTo>
                  <a:cubicBezTo>
                    <a:pt x="476" y="36"/>
                    <a:pt x="477" y="34"/>
                    <a:pt x="477" y="32"/>
                  </a:cubicBezTo>
                  <a:cubicBezTo>
                    <a:pt x="477" y="31"/>
                    <a:pt x="477" y="31"/>
                    <a:pt x="477" y="31"/>
                  </a:cubicBezTo>
                  <a:cubicBezTo>
                    <a:pt x="477" y="28"/>
                    <a:pt x="477" y="28"/>
                    <a:pt x="473" y="28"/>
                  </a:cubicBezTo>
                  <a:cubicBezTo>
                    <a:pt x="473" y="28"/>
                    <a:pt x="473" y="28"/>
                    <a:pt x="473" y="27"/>
                  </a:cubicBezTo>
                  <a:cubicBezTo>
                    <a:pt x="473" y="26"/>
                    <a:pt x="473" y="26"/>
                    <a:pt x="473" y="26"/>
                  </a:cubicBezTo>
                  <a:cubicBezTo>
                    <a:pt x="475" y="26"/>
                    <a:pt x="477" y="26"/>
                    <a:pt x="479" y="26"/>
                  </a:cubicBezTo>
                  <a:cubicBezTo>
                    <a:pt x="481" y="26"/>
                    <a:pt x="482" y="26"/>
                    <a:pt x="484" y="26"/>
                  </a:cubicBezTo>
                  <a:lnTo>
                    <a:pt x="484" y="27"/>
                  </a:lnTo>
                  <a:close/>
                  <a:moveTo>
                    <a:pt x="526" y="23"/>
                  </a:moveTo>
                  <a:cubicBezTo>
                    <a:pt x="526" y="23"/>
                    <a:pt x="526" y="23"/>
                    <a:pt x="525" y="23"/>
                  </a:cubicBezTo>
                  <a:cubicBezTo>
                    <a:pt x="522" y="24"/>
                    <a:pt x="522" y="24"/>
                    <a:pt x="522" y="28"/>
                  </a:cubicBezTo>
                  <a:cubicBezTo>
                    <a:pt x="522" y="30"/>
                    <a:pt x="522" y="30"/>
                    <a:pt x="522" y="30"/>
                  </a:cubicBezTo>
                  <a:cubicBezTo>
                    <a:pt x="522" y="31"/>
                    <a:pt x="522" y="32"/>
                    <a:pt x="522" y="33"/>
                  </a:cubicBezTo>
                  <a:cubicBezTo>
                    <a:pt x="522" y="33"/>
                    <a:pt x="522" y="33"/>
                    <a:pt x="522" y="33"/>
                  </a:cubicBezTo>
                  <a:cubicBezTo>
                    <a:pt x="519" y="33"/>
                    <a:pt x="517" y="38"/>
                    <a:pt x="510" y="38"/>
                  </a:cubicBezTo>
                  <a:cubicBezTo>
                    <a:pt x="500" y="38"/>
                    <a:pt x="493" y="31"/>
                    <a:pt x="493" y="19"/>
                  </a:cubicBezTo>
                  <a:cubicBezTo>
                    <a:pt x="493" y="8"/>
                    <a:pt x="499" y="0"/>
                    <a:pt x="510" y="0"/>
                  </a:cubicBezTo>
                  <a:cubicBezTo>
                    <a:pt x="513" y="0"/>
                    <a:pt x="516" y="1"/>
                    <a:pt x="518" y="2"/>
                  </a:cubicBezTo>
                  <a:cubicBezTo>
                    <a:pt x="518" y="2"/>
                    <a:pt x="518" y="2"/>
                    <a:pt x="518" y="2"/>
                  </a:cubicBezTo>
                  <a:cubicBezTo>
                    <a:pt x="519" y="1"/>
                    <a:pt x="519" y="1"/>
                    <a:pt x="519" y="1"/>
                  </a:cubicBezTo>
                  <a:cubicBezTo>
                    <a:pt x="519" y="0"/>
                    <a:pt x="519" y="0"/>
                    <a:pt x="520" y="0"/>
                  </a:cubicBezTo>
                  <a:cubicBezTo>
                    <a:pt x="520" y="0"/>
                    <a:pt x="520" y="0"/>
                    <a:pt x="520" y="0"/>
                  </a:cubicBezTo>
                  <a:cubicBezTo>
                    <a:pt x="520" y="3"/>
                    <a:pt x="520" y="8"/>
                    <a:pt x="520" y="11"/>
                  </a:cubicBezTo>
                  <a:cubicBezTo>
                    <a:pt x="519" y="11"/>
                    <a:pt x="519" y="11"/>
                    <a:pt x="519" y="11"/>
                  </a:cubicBezTo>
                  <a:cubicBezTo>
                    <a:pt x="519" y="11"/>
                    <a:pt x="519" y="11"/>
                    <a:pt x="519" y="10"/>
                  </a:cubicBezTo>
                  <a:cubicBezTo>
                    <a:pt x="517" y="5"/>
                    <a:pt x="515" y="2"/>
                    <a:pt x="510" y="2"/>
                  </a:cubicBezTo>
                  <a:cubicBezTo>
                    <a:pt x="501" y="2"/>
                    <a:pt x="499" y="11"/>
                    <a:pt x="499" y="19"/>
                  </a:cubicBezTo>
                  <a:cubicBezTo>
                    <a:pt x="499" y="27"/>
                    <a:pt x="501" y="35"/>
                    <a:pt x="510" y="35"/>
                  </a:cubicBezTo>
                  <a:cubicBezTo>
                    <a:pt x="515" y="35"/>
                    <a:pt x="518" y="33"/>
                    <a:pt x="518" y="30"/>
                  </a:cubicBezTo>
                  <a:cubicBezTo>
                    <a:pt x="518" y="28"/>
                    <a:pt x="518" y="28"/>
                    <a:pt x="518" y="28"/>
                  </a:cubicBezTo>
                  <a:cubicBezTo>
                    <a:pt x="518" y="24"/>
                    <a:pt x="518" y="24"/>
                    <a:pt x="512" y="23"/>
                  </a:cubicBezTo>
                  <a:cubicBezTo>
                    <a:pt x="512" y="23"/>
                    <a:pt x="512" y="23"/>
                    <a:pt x="512" y="23"/>
                  </a:cubicBezTo>
                  <a:cubicBezTo>
                    <a:pt x="512" y="21"/>
                    <a:pt x="512" y="21"/>
                    <a:pt x="512" y="21"/>
                  </a:cubicBezTo>
                  <a:cubicBezTo>
                    <a:pt x="514" y="21"/>
                    <a:pt x="517" y="21"/>
                    <a:pt x="519" y="21"/>
                  </a:cubicBezTo>
                  <a:cubicBezTo>
                    <a:pt x="522" y="21"/>
                    <a:pt x="523" y="21"/>
                    <a:pt x="526" y="21"/>
                  </a:cubicBezTo>
                  <a:lnTo>
                    <a:pt x="526" y="23"/>
                  </a:lnTo>
                  <a:close/>
                  <a:moveTo>
                    <a:pt x="540" y="24"/>
                  </a:moveTo>
                  <a:cubicBezTo>
                    <a:pt x="540" y="24"/>
                    <a:pt x="540" y="24"/>
                    <a:pt x="540" y="24"/>
                  </a:cubicBezTo>
                  <a:cubicBezTo>
                    <a:pt x="548" y="25"/>
                    <a:pt x="546" y="35"/>
                    <a:pt x="549" y="35"/>
                  </a:cubicBezTo>
                  <a:cubicBezTo>
                    <a:pt x="549" y="35"/>
                    <a:pt x="550" y="34"/>
                    <a:pt x="550" y="34"/>
                  </a:cubicBezTo>
                  <a:cubicBezTo>
                    <a:pt x="551" y="35"/>
                    <a:pt x="551" y="35"/>
                    <a:pt x="551" y="35"/>
                  </a:cubicBezTo>
                  <a:cubicBezTo>
                    <a:pt x="551" y="35"/>
                    <a:pt x="551" y="35"/>
                    <a:pt x="551" y="35"/>
                  </a:cubicBezTo>
                  <a:cubicBezTo>
                    <a:pt x="551" y="35"/>
                    <a:pt x="551" y="35"/>
                    <a:pt x="551" y="35"/>
                  </a:cubicBezTo>
                  <a:cubicBezTo>
                    <a:pt x="550" y="36"/>
                    <a:pt x="549" y="37"/>
                    <a:pt x="547" y="37"/>
                  </a:cubicBezTo>
                  <a:cubicBezTo>
                    <a:pt x="543" y="37"/>
                    <a:pt x="543" y="34"/>
                    <a:pt x="542" y="30"/>
                  </a:cubicBezTo>
                  <a:cubicBezTo>
                    <a:pt x="541" y="27"/>
                    <a:pt x="540" y="25"/>
                    <a:pt x="537" y="25"/>
                  </a:cubicBezTo>
                  <a:cubicBezTo>
                    <a:pt x="534" y="25"/>
                    <a:pt x="534" y="25"/>
                    <a:pt x="534" y="25"/>
                  </a:cubicBezTo>
                  <a:cubicBezTo>
                    <a:pt x="534" y="30"/>
                    <a:pt x="534" y="30"/>
                    <a:pt x="534" y="30"/>
                  </a:cubicBezTo>
                  <a:cubicBezTo>
                    <a:pt x="534" y="35"/>
                    <a:pt x="534" y="35"/>
                    <a:pt x="537" y="35"/>
                  </a:cubicBezTo>
                  <a:cubicBezTo>
                    <a:pt x="538" y="35"/>
                    <a:pt x="538" y="36"/>
                    <a:pt x="538" y="36"/>
                  </a:cubicBezTo>
                  <a:cubicBezTo>
                    <a:pt x="538" y="37"/>
                    <a:pt x="538" y="37"/>
                    <a:pt x="538" y="37"/>
                  </a:cubicBezTo>
                  <a:cubicBezTo>
                    <a:pt x="536" y="37"/>
                    <a:pt x="534" y="37"/>
                    <a:pt x="532" y="37"/>
                  </a:cubicBezTo>
                  <a:cubicBezTo>
                    <a:pt x="530" y="37"/>
                    <a:pt x="528" y="37"/>
                    <a:pt x="527" y="37"/>
                  </a:cubicBezTo>
                  <a:cubicBezTo>
                    <a:pt x="527" y="36"/>
                    <a:pt x="527" y="36"/>
                    <a:pt x="527" y="36"/>
                  </a:cubicBezTo>
                  <a:cubicBezTo>
                    <a:pt x="527" y="36"/>
                    <a:pt x="527" y="35"/>
                    <a:pt x="527" y="35"/>
                  </a:cubicBezTo>
                  <a:cubicBezTo>
                    <a:pt x="530" y="35"/>
                    <a:pt x="530" y="35"/>
                    <a:pt x="530" y="30"/>
                  </a:cubicBezTo>
                  <a:cubicBezTo>
                    <a:pt x="530" y="19"/>
                    <a:pt x="530" y="19"/>
                    <a:pt x="530" y="19"/>
                  </a:cubicBezTo>
                  <a:cubicBezTo>
                    <a:pt x="530" y="14"/>
                    <a:pt x="530" y="14"/>
                    <a:pt x="527" y="14"/>
                  </a:cubicBezTo>
                  <a:cubicBezTo>
                    <a:pt x="527" y="14"/>
                    <a:pt x="527" y="14"/>
                    <a:pt x="527" y="13"/>
                  </a:cubicBezTo>
                  <a:cubicBezTo>
                    <a:pt x="527" y="12"/>
                    <a:pt x="527" y="12"/>
                    <a:pt x="527" y="12"/>
                  </a:cubicBezTo>
                  <a:cubicBezTo>
                    <a:pt x="528" y="12"/>
                    <a:pt x="530" y="12"/>
                    <a:pt x="532" y="12"/>
                  </a:cubicBezTo>
                  <a:cubicBezTo>
                    <a:pt x="534" y="12"/>
                    <a:pt x="536" y="12"/>
                    <a:pt x="538" y="12"/>
                  </a:cubicBezTo>
                  <a:cubicBezTo>
                    <a:pt x="543" y="12"/>
                    <a:pt x="547" y="14"/>
                    <a:pt x="547" y="18"/>
                  </a:cubicBezTo>
                  <a:cubicBezTo>
                    <a:pt x="547" y="21"/>
                    <a:pt x="546" y="23"/>
                    <a:pt x="540" y="24"/>
                  </a:cubicBezTo>
                  <a:close/>
                  <a:moveTo>
                    <a:pt x="538" y="14"/>
                  </a:moveTo>
                  <a:cubicBezTo>
                    <a:pt x="537" y="14"/>
                    <a:pt x="534" y="14"/>
                    <a:pt x="534" y="14"/>
                  </a:cubicBezTo>
                  <a:cubicBezTo>
                    <a:pt x="534" y="23"/>
                    <a:pt x="534" y="23"/>
                    <a:pt x="534" y="23"/>
                  </a:cubicBezTo>
                  <a:cubicBezTo>
                    <a:pt x="537" y="23"/>
                    <a:pt x="537" y="23"/>
                    <a:pt x="537" y="23"/>
                  </a:cubicBezTo>
                  <a:cubicBezTo>
                    <a:pt x="540" y="23"/>
                    <a:pt x="543" y="22"/>
                    <a:pt x="543" y="18"/>
                  </a:cubicBezTo>
                  <a:cubicBezTo>
                    <a:pt x="543" y="15"/>
                    <a:pt x="540" y="14"/>
                    <a:pt x="538" y="14"/>
                  </a:cubicBezTo>
                  <a:close/>
                  <a:moveTo>
                    <a:pt x="563" y="38"/>
                  </a:moveTo>
                  <a:cubicBezTo>
                    <a:pt x="556" y="38"/>
                    <a:pt x="551" y="33"/>
                    <a:pt x="551" y="25"/>
                  </a:cubicBezTo>
                  <a:cubicBezTo>
                    <a:pt x="551" y="16"/>
                    <a:pt x="557" y="11"/>
                    <a:pt x="563" y="11"/>
                  </a:cubicBezTo>
                  <a:cubicBezTo>
                    <a:pt x="570" y="11"/>
                    <a:pt x="575" y="16"/>
                    <a:pt x="575" y="24"/>
                  </a:cubicBezTo>
                  <a:cubicBezTo>
                    <a:pt x="575" y="33"/>
                    <a:pt x="570" y="38"/>
                    <a:pt x="563" y="38"/>
                  </a:cubicBezTo>
                  <a:close/>
                  <a:moveTo>
                    <a:pt x="563" y="14"/>
                  </a:moveTo>
                  <a:cubicBezTo>
                    <a:pt x="558" y="14"/>
                    <a:pt x="556" y="17"/>
                    <a:pt x="556" y="25"/>
                  </a:cubicBezTo>
                  <a:cubicBezTo>
                    <a:pt x="556" y="32"/>
                    <a:pt x="559" y="36"/>
                    <a:pt x="563" y="36"/>
                  </a:cubicBezTo>
                  <a:cubicBezTo>
                    <a:pt x="568" y="36"/>
                    <a:pt x="570" y="32"/>
                    <a:pt x="570" y="24"/>
                  </a:cubicBezTo>
                  <a:cubicBezTo>
                    <a:pt x="570" y="17"/>
                    <a:pt x="567" y="14"/>
                    <a:pt x="563" y="14"/>
                  </a:cubicBezTo>
                  <a:close/>
                  <a:moveTo>
                    <a:pt x="590" y="38"/>
                  </a:moveTo>
                  <a:cubicBezTo>
                    <a:pt x="583" y="38"/>
                    <a:pt x="580" y="35"/>
                    <a:pt x="580" y="28"/>
                  </a:cubicBezTo>
                  <a:cubicBezTo>
                    <a:pt x="580" y="19"/>
                    <a:pt x="580" y="19"/>
                    <a:pt x="580" y="19"/>
                  </a:cubicBezTo>
                  <a:cubicBezTo>
                    <a:pt x="580" y="14"/>
                    <a:pt x="580" y="14"/>
                    <a:pt x="577" y="14"/>
                  </a:cubicBezTo>
                  <a:cubicBezTo>
                    <a:pt x="576" y="14"/>
                    <a:pt x="576" y="14"/>
                    <a:pt x="576" y="13"/>
                  </a:cubicBezTo>
                  <a:cubicBezTo>
                    <a:pt x="576" y="12"/>
                    <a:pt x="576" y="12"/>
                    <a:pt x="576" y="12"/>
                  </a:cubicBezTo>
                  <a:cubicBezTo>
                    <a:pt x="578" y="12"/>
                    <a:pt x="580" y="12"/>
                    <a:pt x="582" y="12"/>
                  </a:cubicBezTo>
                  <a:cubicBezTo>
                    <a:pt x="584" y="12"/>
                    <a:pt x="586" y="12"/>
                    <a:pt x="587" y="12"/>
                  </a:cubicBezTo>
                  <a:cubicBezTo>
                    <a:pt x="587" y="13"/>
                    <a:pt x="587" y="13"/>
                    <a:pt x="587" y="13"/>
                  </a:cubicBezTo>
                  <a:cubicBezTo>
                    <a:pt x="587" y="14"/>
                    <a:pt x="587" y="14"/>
                    <a:pt x="587" y="14"/>
                  </a:cubicBezTo>
                  <a:cubicBezTo>
                    <a:pt x="584" y="14"/>
                    <a:pt x="584" y="14"/>
                    <a:pt x="584" y="19"/>
                  </a:cubicBezTo>
                  <a:cubicBezTo>
                    <a:pt x="584" y="29"/>
                    <a:pt x="584" y="29"/>
                    <a:pt x="584" y="29"/>
                  </a:cubicBezTo>
                  <a:cubicBezTo>
                    <a:pt x="584" y="33"/>
                    <a:pt x="586" y="35"/>
                    <a:pt x="590" y="35"/>
                  </a:cubicBezTo>
                  <a:cubicBezTo>
                    <a:pt x="595" y="35"/>
                    <a:pt x="597" y="33"/>
                    <a:pt x="597" y="28"/>
                  </a:cubicBezTo>
                  <a:cubicBezTo>
                    <a:pt x="597" y="22"/>
                    <a:pt x="597" y="22"/>
                    <a:pt x="597" y="22"/>
                  </a:cubicBezTo>
                  <a:cubicBezTo>
                    <a:pt x="597" y="15"/>
                    <a:pt x="597" y="14"/>
                    <a:pt x="592" y="14"/>
                  </a:cubicBezTo>
                  <a:cubicBezTo>
                    <a:pt x="592" y="14"/>
                    <a:pt x="592" y="14"/>
                    <a:pt x="592" y="13"/>
                  </a:cubicBezTo>
                  <a:cubicBezTo>
                    <a:pt x="592" y="12"/>
                    <a:pt x="592" y="12"/>
                    <a:pt x="592" y="12"/>
                  </a:cubicBezTo>
                  <a:cubicBezTo>
                    <a:pt x="594" y="12"/>
                    <a:pt x="596" y="12"/>
                    <a:pt x="598" y="12"/>
                  </a:cubicBezTo>
                  <a:cubicBezTo>
                    <a:pt x="600" y="12"/>
                    <a:pt x="601" y="12"/>
                    <a:pt x="602" y="12"/>
                  </a:cubicBezTo>
                  <a:cubicBezTo>
                    <a:pt x="602" y="13"/>
                    <a:pt x="602" y="13"/>
                    <a:pt x="602" y="13"/>
                  </a:cubicBezTo>
                  <a:cubicBezTo>
                    <a:pt x="602" y="14"/>
                    <a:pt x="602" y="14"/>
                    <a:pt x="602" y="14"/>
                  </a:cubicBezTo>
                  <a:cubicBezTo>
                    <a:pt x="599" y="14"/>
                    <a:pt x="599" y="15"/>
                    <a:pt x="599" y="22"/>
                  </a:cubicBezTo>
                  <a:cubicBezTo>
                    <a:pt x="599" y="28"/>
                    <a:pt x="599" y="28"/>
                    <a:pt x="599" y="28"/>
                  </a:cubicBezTo>
                  <a:cubicBezTo>
                    <a:pt x="599" y="35"/>
                    <a:pt x="596" y="38"/>
                    <a:pt x="590" y="38"/>
                  </a:cubicBezTo>
                  <a:close/>
                  <a:moveTo>
                    <a:pt x="614" y="27"/>
                  </a:moveTo>
                  <a:cubicBezTo>
                    <a:pt x="612" y="27"/>
                    <a:pt x="612" y="27"/>
                    <a:pt x="612" y="27"/>
                  </a:cubicBezTo>
                  <a:cubicBezTo>
                    <a:pt x="612" y="30"/>
                    <a:pt x="612" y="30"/>
                    <a:pt x="612" y="30"/>
                  </a:cubicBezTo>
                  <a:cubicBezTo>
                    <a:pt x="612" y="35"/>
                    <a:pt x="612" y="35"/>
                    <a:pt x="615" y="35"/>
                  </a:cubicBezTo>
                  <a:cubicBezTo>
                    <a:pt x="616" y="35"/>
                    <a:pt x="616" y="36"/>
                    <a:pt x="616" y="36"/>
                  </a:cubicBezTo>
                  <a:cubicBezTo>
                    <a:pt x="616" y="37"/>
                    <a:pt x="616" y="37"/>
                    <a:pt x="616" y="37"/>
                  </a:cubicBezTo>
                  <a:cubicBezTo>
                    <a:pt x="614" y="37"/>
                    <a:pt x="611" y="37"/>
                    <a:pt x="610" y="37"/>
                  </a:cubicBezTo>
                  <a:cubicBezTo>
                    <a:pt x="608" y="37"/>
                    <a:pt x="606" y="37"/>
                    <a:pt x="604" y="37"/>
                  </a:cubicBezTo>
                  <a:cubicBezTo>
                    <a:pt x="604" y="36"/>
                    <a:pt x="604" y="36"/>
                    <a:pt x="604" y="36"/>
                  </a:cubicBezTo>
                  <a:cubicBezTo>
                    <a:pt x="604" y="36"/>
                    <a:pt x="604" y="35"/>
                    <a:pt x="604" y="35"/>
                  </a:cubicBezTo>
                  <a:cubicBezTo>
                    <a:pt x="607" y="35"/>
                    <a:pt x="607" y="35"/>
                    <a:pt x="607" y="30"/>
                  </a:cubicBezTo>
                  <a:cubicBezTo>
                    <a:pt x="607" y="19"/>
                    <a:pt x="607" y="19"/>
                    <a:pt x="607" y="19"/>
                  </a:cubicBezTo>
                  <a:cubicBezTo>
                    <a:pt x="607" y="14"/>
                    <a:pt x="607" y="14"/>
                    <a:pt x="604" y="14"/>
                  </a:cubicBezTo>
                  <a:cubicBezTo>
                    <a:pt x="604" y="14"/>
                    <a:pt x="604" y="14"/>
                    <a:pt x="604" y="13"/>
                  </a:cubicBezTo>
                  <a:cubicBezTo>
                    <a:pt x="604" y="12"/>
                    <a:pt x="604" y="12"/>
                    <a:pt x="604" y="12"/>
                  </a:cubicBezTo>
                  <a:cubicBezTo>
                    <a:pt x="606" y="12"/>
                    <a:pt x="608" y="12"/>
                    <a:pt x="610" y="12"/>
                  </a:cubicBezTo>
                  <a:cubicBezTo>
                    <a:pt x="611" y="12"/>
                    <a:pt x="613" y="12"/>
                    <a:pt x="614" y="12"/>
                  </a:cubicBezTo>
                  <a:cubicBezTo>
                    <a:pt x="619" y="12"/>
                    <a:pt x="625" y="13"/>
                    <a:pt x="625" y="19"/>
                  </a:cubicBezTo>
                  <a:cubicBezTo>
                    <a:pt x="625" y="22"/>
                    <a:pt x="623" y="27"/>
                    <a:pt x="614" y="27"/>
                  </a:cubicBezTo>
                  <a:close/>
                  <a:moveTo>
                    <a:pt x="615" y="14"/>
                  </a:moveTo>
                  <a:cubicBezTo>
                    <a:pt x="614" y="14"/>
                    <a:pt x="612" y="14"/>
                    <a:pt x="612" y="14"/>
                  </a:cubicBezTo>
                  <a:cubicBezTo>
                    <a:pt x="612" y="25"/>
                    <a:pt x="612" y="25"/>
                    <a:pt x="612" y="25"/>
                  </a:cubicBezTo>
                  <a:cubicBezTo>
                    <a:pt x="614" y="25"/>
                    <a:pt x="614" y="25"/>
                    <a:pt x="614" y="25"/>
                  </a:cubicBezTo>
                  <a:cubicBezTo>
                    <a:pt x="618" y="25"/>
                    <a:pt x="620" y="23"/>
                    <a:pt x="620" y="19"/>
                  </a:cubicBezTo>
                  <a:cubicBezTo>
                    <a:pt x="620" y="16"/>
                    <a:pt x="618" y="14"/>
                    <a:pt x="615"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sym typeface="Trebuchet MS" panose="020B0603020202020204" pitchFamily="34" charset="0"/>
              </a:endParaRPr>
            </a:p>
          </p:txBody>
        </p:sp>
      </p:grpSp>
      <p:sp>
        <p:nvSpPr>
          <p:cNvPr id="26" name="Subtitle 2"/>
          <p:cNvSpPr>
            <a:spLocks noGrp="1"/>
          </p:cNvSpPr>
          <p:nvPr>
            <p:ph type="subTitle" idx="1" hasCustomPrompt="1"/>
          </p:nvPr>
        </p:nvSpPr>
        <p:spPr bwMode="white">
          <a:xfrm>
            <a:off x="957600" y="5495706"/>
            <a:ext cx="6868800" cy="436195"/>
          </a:xfrm>
          <a:prstGeom prst="rect">
            <a:avLst/>
          </a:prstGeom>
        </p:spPr>
        <p:txBody>
          <a:bodyPr anchor="ctr"/>
          <a:lstStyle>
            <a:lvl1pPr marL="0" indent="0" algn="l">
              <a:lnSpc>
                <a:spcPct val="110000"/>
              </a:lnSpc>
              <a:buNone/>
              <a:defRPr sz="160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
        <p:nvSpPr>
          <p:cNvPr id="27" name="Title 1"/>
          <p:cNvSpPr>
            <a:spLocks noGrp="1"/>
          </p:cNvSpPr>
          <p:nvPr>
            <p:ph type="ctrTitle" hasCustomPrompt="1"/>
          </p:nvPr>
        </p:nvSpPr>
        <p:spPr bwMode="ltGray">
          <a:xfrm>
            <a:off x="957600" y="1886242"/>
            <a:ext cx="6868800" cy="3138423"/>
          </a:xfrm>
        </p:spPr>
        <p:txBody>
          <a:bodyPr anchor="b">
            <a:normAutofit/>
          </a:bodyPr>
          <a:lstStyle>
            <a:lvl1pPr algn="l">
              <a:lnSpc>
                <a:spcPct val="93000"/>
              </a:lnSpc>
              <a:defRPr sz="5400">
                <a:solidFill>
                  <a:schemeClr val="bg1"/>
                </a:solidFill>
                <a:latin typeface="+mj-lt"/>
                <a:sym typeface="Trebuchet MS" panose="020B0603020202020204" pitchFamily="34" charset="0"/>
              </a:defRPr>
            </a:lvl1pPr>
          </a:lstStyle>
          <a:p>
            <a:r>
              <a:rPr lang="en-US" dirty="0"/>
              <a:t>Title in Title Case</a:t>
            </a:r>
          </a:p>
        </p:txBody>
      </p:sp>
    </p:spTree>
    <p:extLst>
      <p:ext uri="{BB962C8B-B14F-4D97-AF65-F5344CB8AC3E}">
        <p14:creationId xmlns:p14="http://schemas.microsoft.com/office/powerpoint/2010/main" val="313871998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2CD80C3-4B1D-0405-8F8E-A9C9E1912891}"/>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FE499D1F-7FB3-EF67-843D-14E3AE1CBB67}"/>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72ACC273-8EF3-B55C-A410-A2179E205004}"/>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407CB404-668B-91DB-031B-E476EDD179B4}"/>
              </a:ext>
            </a:extLst>
          </p:cNvPr>
          <p:cNvSpPr>
            <a:spLocks noGrp="1"/>
          </p:cNvSpPr>
          <p:nvPr>
            <p:ph type="dt" sz="half" idx="10"/>
          </p:nvPr>
        </p:nvSpPr>
        <p:spPr/>
        <p:txBody>
          <a:bodyPr/>
          <a:lstStyle/>
          <a:p>
            <a:fld id="{DCAFD43A-663F-4A92-A292-D8EDA73F00B6}" type="datetimeFigureOut">
              <a:rPr lang="en-US" smtClean="0"/>
              <a:t>4/4/2023</a:t>
            </a:fld>
            <a:endParaRPr lang="en-US"/>
          </a:p>
        </p:txBody>
      </p:sp>
      <p:sp>
        <p:nvSpPr>
          <p:cNvPr id="6" name="Footer Placeholder 5">
            <a:extLst>
              <a:ext uri="{FF2B5EF4-FFF2-40B4-BE49-F238E27FC236}">
                <a16:creationId xmlns:a16="http://schemas.microsoft.com/office/drawing/2014/main" id="{EE51A8FB-A934-C29A-5D4D-A94097255E92}"/>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DCCD7A3E-B3BE-9B84-6E5A-46E038B0F426}"/>
              </a:ext>
            </a:extLst>
          </p:cNvPr>
          <p:cNvSpPr>
            <a:spLocks noGrp="1"/>
          </p:cNvSpPr>
          <p:nvPr>
            <p:ph type="sldNum" sz="quarter" idx="12"/>
          </p:nvPr>
        </p:nvSpPr>
        <p:spPr/>
        <p:txBody>
          <a:bodyPr/>
          <a:lstStyle/>
          <a:p>
            <a:fld id="{2EE30602-477F-49EB-9371-72C7D77D4B6F}" type="slidenum">
              <a:rPr lang="en-US" smtClean="0"/>
              <a:t>‹#›</a:t>
            </a:fld>
            <a:endParaRPr lang="en-US"/>
          </a:p>
        </p:txBody>
      </p:sp>
    </p:spTree>
    <p:extLst>
      <p:ext uri="{BB962C8B-B14F-4D97-AF65-F5344CB8AC3E}">
        <p14:creationId xmlns:p14="http://schemas.microsoft.com/office/powerpoint/2010/main" val="3227066645"/>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sp>
        <p:nvSpPr>
          <p:cNvPr id="57" name="Date Placeholder 56"/>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8" name="Title 7"/>
          <p:cNvSpPr>
            <a:spLocks noGrp="1"/>
          </p:cNvSpPr>
          <p:nvPr>
            <p:ph type="title" hasCustomPrompt="1"/>
          </p:nvPr>
        </p:nvSpPr>
        <p:spPr>
          <a:xfrm>
            <a:off x="630000" y="622800"/>
            <a:ext cx="10933350" cy="332399"/>
          </a:xfrm>
        </p:spPr>
        <p:txBody>
          <a:bodyPr/>
          <a:lstStyle>
            <a:lvl1pPr>
              <a:defRPr>
                <a:latin typeface="+mj-lt"/>
                <a:sym typeface="Trebuchet MS" panose="020B0603020202020204" pitchFamily="34" charset="0"/>
              </a:defRPr>
            </a:lvl1pPr>
          </a:lstStyle>
          <a:p>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Slide examples_Killer slides_Final.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75655525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chemeClr val="bg1"/>
        </a:solidFill>
        <a:effectLst/>
      </p:bgPr>
    </p:bg>
    <p:spTree>
      <p:nvGrpSpPr>
        <p:cNvPr id="1" name=""/>
        <p:cNvGrpSpPr/>
        <p:nvPr/>
      </p:nvGrpSpPr>
      <p:grpSpPr>
        <a:xfrm>
          <a:off x="0" y="0"/>
          <a:ext cx="0" cy="0"/>
          <a:chOff x="0" y="0"/>
          <a:chExt cx="0" cy="0"/>
        </a:xfrm>
      </p:grpSpPr>
      <p:sp>
        <p:nvSpPr>
          <p:cNvPr id="4" name="Date Placeholder 3"/>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7" name="Rectangle 6"/>
          <p:cNvSpPr/>
          <p:nvPr userDrawn="1"/>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a:solidFill>
                <a:schemeClr val="bg1"/>
              </a:solidFill>
              <a:latin typeface="+mn-lt"/>
              <a:sym typeface="Trebuchet MS" panose="020B0603020202020204" pitchFamily="34" charset="0"/>
            </a:endParaRPr>
          </a:p>
        </p:txBody>
      </p:sp>
      <p:sp>
        <p:nvSpPr>
          <p:cNvPr id="8" name="Subtitle 2"/>
          <p:cNvSpPr>
            <a:spLocks noGrp="1"/>
          </p:cNvSpPr>
          <p:nvPr>
            <p:ph type="subTitle" idx="13" hasCustomPrompt="1"/>
          </p:nvPr>
        </p:nvSpPr>
        <p:spPr>
          <a:xfrm>
            <a:off x="630000" y="2158987"/>
            <a:ext cx="3744000" cy="541687"/>
          </a:xfrm>
          <a:prstGeom prst="rect">
            <a:avLst/>
          </a:prstGeom>
        </p:spPr>
        <p:txBody>
          <a:bodyPr>
            <a:noAutofit/>
          </a:bodyPr>
          <a:lstStyle>
            <a:lvl1pPr marL="0" indent="0" algn="l">
              <a:buNone/>
              <a:defRPr sz="1600">
                <a:solidFill>
                  <a:schemeClr val="tx2"/>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9" name="Title 4"/>
          <p:cNvSpPr>
            <a:spLocks noGrp="1"/>
          </p:cNvSpPr>
          <p:nvPr>
            <p:ph type="title" hasCustomPrompt="1"/>
          </p:nvPr>
        </p:nvSpPr>
        <p:spPr>
          <a:xfrm>
            <a:off x="630000" y="1227048"/>
            <a:ext cx="3744000" cy="664797"/>
          </a:xfrm>
        </p:spPr>
        <p:txBody>
          <a:bodyPr anchor="t">
            <a:noAutofit/>
          </a:bodyPr>
          <a:lstStyle>
            <a:lvl1pPr>
              <a:defRPr sz="2400">
                <a:solidFill>
                  <a:schemeClr val="tx2"/>
                </a:solidFill>
                <a:latin typeface="+mj-lt"/>
                <a:sym typeface="Trebuchet MS" panose="020B0603020202020204" pitchFamily="34" charset="0"/>
              </a:defRPr>
            </a:lvl1pPr>
          </a:lstStyle>
          <a:p>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Slide examples_Killer slides_Final.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7739334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8" name="Title 1"/>
          <p:cNvSpPr>
            <a:spLocks noGrp="1"/>
          </p:cNvSpPr>
          <p:nvPr>
            <p:ph type="title" hasCustomPrompt="1"/>
          </p:nvPr>
        </p:nvSpPr>
        <p:spPr bwMode="blackWhite">
          <a:xfrm>
            <a:off x="1284742" y="2668041"/>
            <a:ext cx="9620491"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tx2"/>
                </a:solidFill>
                <a:latin typeface="+mj-lt"/>
                <a:ea typeface="+mn-ea"/>
                <a:cs typeface="Arial" panose="020B0604020202020204" pitchFamily="34" charset="0"/>
                <a:sym typeface="Trebuchet MS" panose="020B0603020202020204" pitchFamily="34" charset="0"/>
              </a:defRPr>
            </a:lvl1pPr>
          </a:lstStyle>
          <a:p>
            <a:r>
              <a:rPr lang="en-US" dirty="0"/>
              <a:t>Click to add section title</a:t>
            </a:r>
          </a:p>
        </p:txBody>
      </p:sp>
      <p:sp>
        <p:nvSpPr>
          <p:cNvPr id="11" name="Rectangle 10"/>
          <p:cNvSpPr/>
          <p:nvPr userDrawn="1"/>
        </p:nvSpPr>
        <p:spPr bwMode="white">
          <a:xfrm>
            <a:off x="1280693" y="1424081"/>
            <a:ext cx="951721" cy="951721"/>
          </a:xfrm>
          <a:prstGeom prst="rect">
            <a:avLst/>
          </a:prstGeom>
          <a:noFill/>
          <a:ln>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sym typeface="Trebuchet MS" panose="020B0603020202020204" pitchFamily="34" charset="0"/>
            </a:endParaRP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Slide examples_Killer slides_Final.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64803570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chemeClr val="bg1"/>
        </a:solidFill>
        <a:effectLst/>
      </p:bgPr>
    </p:bg>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tx2"/>
                </a:solidFill>
                <a:latin typeface="+mj-lt"/>
                <a:sym typeface="Trebuchet MS" panose="020B0603020202020204" pitchFamily="34" charset="0"/>
              </a:defRPr>
            </a:lvl1pPr>
          </a:lstStyle>
          <a:p>
            <a:r>
              <a:rPr lang="en-US" dirty="0"/>
              <a:t>Click to add section title</a:t>
            </a:r>
          </a:p>
        </p:txBody>
      </p:sp>
      <p:cxnSp>
        <p:nvCxnSpPr>
          <p:cNvPr id="10" name="Straight Connector 9"/>
          <p:cNvCxnSpPr/>
          <p:nvPr userDrawn="1"/>
        </p:nvCxnSpPr>
        <p:spPr bwMode="white">
          <a:xfrm>
            <a:off x="630000" y="3680016"/>
            <a:ext cx="11558587" cy="0"/>
          </a:xfrm>
          <a:prstGeom prst="line">
            <a:avLst/>
          </a:prstGeom>
          <a:ln w="19050" cmpd="sng">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5320888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8"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2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7 by The Boston Consulting Group, Inc. All rights reserved.</a:t>
            </a:r>
          </a:p>
        </p:txBody>
      </p:sp>
      <p:sp>
        <p:nvSpPr>
          <p:cNvPr id="24" name="Rectangle 23"/>
          <p:cNvSpPr/>
          <p:nvPr userDrawn="1"/>
        </p:nvSpPr>
        <p:spPr bwMode="white">
          <a:xfrm>
            <a:off x="0" y="0"/>
            <a:ext cx="407950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25"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Slide examples_Killer slides_Final.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31059507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4" name="Rectangle 13"/>
          <p:cNvSpPr/>
          <p:nvPr userDrawn="1"/>
        </p:nvSpPr>
        <p:spPr bwMode="white">
          <a:xfrm>
            <a:off x="0" y="0"/>
            <a:ext cx="717195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18"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7 by The Boston Consulting Group, Inc. All rights reserved.</a:t>
            </a:r>
          </a:p>
        </p:txBody>
      </p:sp>
      <p:sp>
        <p:nvSpPr>
          <p:cNvPr id="2" name="Title 1"/>
          <p:cNvSpPr>
            <a:spLocks noGrp="1"/>
          </p:cNvSpPr>
          <p:nvPr>
            <p:ph type="title" hasCustomPrompt="1"/>
          </p:nvPr>
        </p:nvSpPr>
        <p:spPr>
          <a:xfrm>
            <a:off x="630000" y="622800"/>
            <a:ext cx="6276529"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Slide examples_Killer slides_Final.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79049858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9029246" y="0"/>
            <a:ext cx="416951" cy="6858000"/>
          </a:xfrm>
          <a:prstGeom prst="rect">
            <a:avLst/>
          </a:prstGeom>
        </p:spPr>
      </p:pic>
      <p:sp>
        <p:nvSpPr>
          <p:cNvPr id="10" name="Rectangle 9"/>
          <p:cNvSpPr/>
          <p:nvPr userDrawn="1"/>
        </p:nvSpPr>
        <p:spPr bwMode="white">
          <a:xfrm>
            <a:off x="0" y="0"/>
            <a:ext cx="903427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a:p>
        </p:txBody>
      </p:sp>
      <p:sp>
        <p:nvSpPr>
          <p:cNvPr id="2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7 by The Boston Consulting Group, Inc.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8101584"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Slide examples_Killer slides_Final.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0661558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23" name="Picture 22"/>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4"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bg1"/>
                </a:solidFill>
                <a:latin typeface="+mj-lt"/>
                <a:sym typeface="Trebuchet MS" panose="020B0603020202020204" pitchFamily="34" charset="0"/>
              </a:defRPr>
            </a:lvl1pPr>
          </a:lstStyle>
          <a:p>
            <a:r>
              <a:rPr lang="en-US" dirty="0"/>
              <a:t>Click to add title</a:t>
            </a:r>
          </a:p>
        </p:txBody>
      </p:sp>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25"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2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Slide examples_Killer slides_Final.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51267174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1" name="Rectangle 10"/>
          <p:cNvSpPr/>
          <p:nvPr userDrawn="1"/>
        </p:nvSpPr>
        <p:spPr>
          <a:xfrm>
            <a:off x="6096000" y="0"/>
            <a:ext cx="6096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sym typeface="Trebuchet MS" panose="020B0603020202020204" pitchFamily="34" charset="0"/>
            </a:endParaRPr>
          </a:p>
        </p:txBody>
      </p:sp>
      <p:sp>
        <p:nvSpPr>
          <p:cNvPr id="12"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Title 1"/>
          <p:cNvSpPr>
            <a:spLocks noGrp="1"/>
          </p:cNvSpPr>
          <p:nvPr>
            <p:ph type="title" hasCustomPrompt="1"/>
          </p:nvPr>
        </p:nvSpPr>
        <p:spPr bwMode="blackWhite">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5"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1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Slide examples_Killer slides_Final.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31731586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1" name="Rectangle 10"/>
          <p:cNvSpPr/>
          <p:nvPr userDrawn="1"/>
        </p:nvSpPr>
        <p:spPr bwMode="gray">
          <a:xfrm>
            <a:off x="7819543" y="0"/>
            <a:ext cx="437245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12"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15" name="Title 1"/>
          <p:cNvSpPr>
            <a:spLocks noGrp="1"/>
          </p:cNvSpPr>
          <p:nvPr>
            <p:ph type="title" hasCustomPrompt="1"/>
          </p:nvPr>
        </p:nvSpPr>
        <p:spPr bwMode="black">
          <a:xfrm>
            <a:off x="630936" y="178560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Slide examples_Killer slides_Final.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32386885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170AD3-FDB9-1234-8CEA-758AD2A364F6}"/>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735942A2-A2F1-3B79-1080-01018522E623}"/>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E1D20441-E337-A0D5-5383-7CACC9E36419}"/>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FE7E1322-2250-5A3C-2506-1679EB3C29F3}"/>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B4269D57-292F-93ED-6F5F-2B4155A37661}"/>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C35174C2-D7B1-2275-AF1E-37CAAD03A960}"/>
              </a:ext>
            </a:extLst>
          </p:cNvPr>
          <p:cNvSpPr>
            <a:spLocks noGrp="1"/>
          </p:cNvSpPr>
          <p:nvPr>
            <p:ph type="dt" sz="half" idx="10"/>
          </p:nvPr>
        </p:nvSpPr>
        <p:spPr/>
        <p:txBody>
          <a:bodyPr/>
          <a:lstStyle/>
          <a:p>
            <a:fld id="{DCAFD43A-663F-4A92-A292-D8EDA73F00B6}" type="datetimeFigureOut">
              <a:rPr lang="en-US" smtClean="0"/>
              <a:t>4/4/2023</a:t>
            </a:fld>
            <a:endParaRPr lang="en-US"/>
          </a:p>
        </p:txBody>
      </p:sp>
      <p:sp>
        <p:nvSpPr>
          <p:cNvPr id="8" name="Footer Placeholder 7">
            <a:extLst>
              <a:ext uri="{FF2B5EF4-FFF2-40B4-BE49-F238E27FC236}">
                <a16:creationId xmlns:a16="http://schemas.microsoft.com/office/drawing/2014/main" id="{985FB957-0E53-6376-E979-927975860C0A}"/>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D630C20E-6425-9F81-574D-9DFC4D16FC6D}"/>
              </a:ext>
            </a:extLst>
          </p:cNvPr>
          <p:cNvSpPr>
            <a:spLocks noGrp="1"/>
          </p:cNvSpPr>
          <p:nvPr>
            <p:ph type="sldNum" sz="quarter" idx="12"/>
          </p:nvPr>
        </p:nvSpPr>
        <p:spPr/>
        <p:txBody>
          <a:bodyPr/>
          <a:lstStyle/>
          <a:p>
            <a:fld id="{2EE30602-477F-49EB-9371-72C7D77D4B6F}" type="slidenum">
              <a:rPr lang="en-US" smtClean="0"/>
              <a:t>‹#›</a:t>
            </a:fld>
            <a:endParaRPr lang="en-US"/>
          </a:p>
        </p:txBody>
      </p:sp>
    </p:spTree>
    <p:extLst>
      <p:ext uri="{BB962C8B-B14F-4D97-AF65-F5344CB8AC3E}">
        <p14:creationId xmlns:p14="http://schemas.microsoft.com/office/powerpoint/2010/main" val="3759637950"/>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9"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3108638" y="3588018"/>
            <a:ext cx="1365250" cy="3382962"/>
          </a:xfrm>
          <a:prstGeom prst="rect">
            <a:avLst/>
          </a:prstGeom>
          <a:noFill/>
          <a:extLst>
            <a:ext uri="{909E8E84-426E-40DD-AFC4-6F175D3DCCD1}">
              <a14:hiddenFill xmlns:a14="http://schemas.microsoft.com/office/drawing/2010/main">
                <a:solidFill>
                  <a:srgbClr val="FFFFFF"/>
                </a:solidFill>
              </a14:hiddenFill>
            </a:ext>
          </a:extLst>
        </p:spPr>
      </p:pic>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7 by The Boston Consulting Group, Inc. All rights reserved.</a:t>
            </a:r>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0" name="Title 2"/>
          <p:cNvSpPr>
            <a:spLocks noGrp="1"/>
          </p:cNvSpPr>
          <p:nvPr>
            <p:ph type="title" hasCustomPrompt="1"/>
          </p:nvPr>
        </p:nvSpPr>
        <p:spPr>
          <a:xfrm>
            <a:off x="630000" y="2764203"/>
            <a:ext cx="2478638" cy="1314311"/>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dirty="0">
                <a:solidFill>
                  <a:schemeClr val="tx2"/>
                </a:solidFill>
              </a:rPr>
              <a:t>Click to add title</a:t>
            </a: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Slide examples_Killer slides_Final.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8720899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chemeClr val="bg1"/>
        </a:solidFill>
        <a:effectLst/>
      </p:bgPr>
    </p:bg>
    <p:spTree>
      <p:nvGrpSpPr>
        <p:cNvPr id="1" name=""/>
        <p:cNvGrpSpPr/>
        <p:nvPr/>
      </p:nvGrpSpPr>
      <p:grpSpPr>
        <a:xfrm>
          <a:off x="0" y="0"/>
          <a:ext cx="0" cy="0"/>
          <a:chOff x="0" y="0"/>
          <a:chExt cx="0" cy="0"/>
        </a:xfrm>
      </p:grpSpPr>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5" name="Title 4"/>
          <p:cNvSpPr>
            <a:spLocks noGrp="1"/>
          </p:cNvSpPr>
          <p:nvPr>
            <p:ph type="title" hasCustomPrompt="1"/>
          </p:nvPr>
        </p:nvSpPr>
        <p:spPr>
          <a:xfrm>
            <a:off x="630000" y="2764203"/>
            <a:ext cx="2478638" cy="1314311"/>
          </a:xfrm>
        </p:spPr>
        <p:txBody>
          <a:bodyPr anchor="ctr" anchorCtr="0">
            <a:noAutofit/>
          </a:bodyPr>
          <a:lstStyle>
            <a:lvl1pPr>
              <a:defRPr>
                <a:solidFill>
                  <a:srgbClr val="FFFFFF"/>
                </a:solidFill>
                <a:latin typeface="+mj-lt"/>
              </a:defRPr>
            </a:lvl1pPr>
          </a:lstStyle>
          <a:p>
            <a:r>
              <a:rPr lang="en-US" dirty="0"/>
              <a:t>Click to add title</a:t>
            </a:r>
          </a:p>
        </p:txBody>
      </p:sp>
      <p:sp>
        <p:nvSpPr>
          <p:cNvPr id="15"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19"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Slide examples_Killer slides_Final.pptx</a:t>
            </a:r>
            <a:endParaRPr lang="en-US" sz="700" dirty="0">
              <a:solidFill>
                <a:schemeClr val="bg1">
                  <a:lumMod val="50000"/>
                </a:schemeClr>
              </a:solidFill>
              <a:latin typeface="+mn-lt"/>
              <a:sym typeface="Trebuchet MS" panose="020B0603020202020204" pitchFamily="34" charset="0"/>
            </a:endParaRPr>
          </a:p>
        </p:txBody>
      </p:sp>
      <p:pic>
        <p:nvPicPr>
          <p:cNvPr id="11" name="Picture 10"/>
          <p:cNvPicPr>
            <a:picLocks noChangeAspect="1"/>
          </p:cNvPicPr>
          <p:nvPr userDrawn="1"/>
        </p:nvPicPr>
        <p:blipFill rotWithShape="1">
          <a:blip r:embed="rId3">
            <a:extLst>
              <a:ext uri="{28A0092B-C50C-407E-A947-70E740481C1C}">
                <a14:useLocalDpi xmlns:a14="http://schemas.microsoft.com/office/drawing/2010/main" val="0"/>
              </a:ext>
            </a:extLst>
          </a:blip>
          <a:srcRect t="6216" b="7716"/>
          <a:stretch/>
        </p:blipFill>
        <p:spPr>
          <a:xfrm rot="120000">
            <a:off x="2141308" y="3402828"/>
            <a:ext cx="2694666" cy="3461745"/>
          </a:xfrm>
          <a:prstGeom prst="rect">
            <a:avLst/>
          </a:prstGeom>
        </p:spPr>
      </p:pic>
    </p:spTree>
    <p:extLst>
      <p:ext uri="{BB962C8B-B14F-4D97-AF65-F5344CB8AC3E}">
        <p14:creationId xmlns:p14="http://schemas.microsoft.com/office/powerpoint/2010/main" val="3473766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9" name="TextBox 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a:solidFill>
                <a:schemeClr val="bg1"/>
              </a:solidFill>
              <a:latin typeface="+mn-lt"/>
              <a:ea typeface="+mn-ea"/>
              <a:cs typeface="+mn-cs"/>
              <a:sym typeface="Trebuchet MS" panose="020B0603020202020204" pitchFamily="34" charset="0"/>
            </a:endParaRPr>
          </a:p>
        </p:txBody>
      </p:sp>
      <p:sp>
        <p:nvSpPr>
          <p:cNvPr id="10"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7 by The Boston Consulting Group, Inc. All rights reserved.</a:t>
            </a:r>
          </a:p>
        </p:txBody>
      </p:sp>
      <p:pic>
        <p:nvPicPr>
          <p:cNvPr id="18"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4533900" y="3382962"/>
            <a:ext cx="1298575" cy="3571875"/>
          </a:xfrm>
          <a:prstGeom prst="rect">
            <a:avLst/>
          </a:prstGeom>
          <a:noFill/>
          <a:extLst>
            <a:ext uri="{909E8E84-426E-40DD-AFC4-6F175D3DCCD1}">
              <a14:hiddenFill xmlns:a14="http://schemas.microsoft.com/office/drawing/2010/main">
                <a:solidFill>
                  <a:srgbClr val="FFFFFF"/>
                </a:solidFill>
              </a14:hiddenFill>
            </a:ext>
          </a:extLst>
        </p:spPr>
      </p:pic>
      <p:sp>
        <p:nvSpPr>
          <p:cNvPr id="19" name="Pentagon 3"/>
          <p:cNvSpPr/>
          <p:nvPr userDrawn="1"/>
        </p:nvSpPr>
        <p:spPr bwMode="white">
          <a:xfrm>
            <a:off x="1" y="0"/>
            <a:ext cx="5426920"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Slide examples_Killer slides_Final.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10623647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chemeClr val="bg1"/>
        </a:solidFill>
        <a:effectLst/>
      </p:bgPr>
    </p:bg>
    <p:spTree>
      <p:nvGrpSpPr>
        <p:cNvPr id="1" name=""/>
        <p:cNvGrpSpPr/>
        <p:nvPr/>
      </p:nvGrpSpPr>
      <p:grpSpPr>
        <a:xfrm>
          <a:off x="0" y="0"/>
          <a:ext cx="0" cy="0"/>
          <a:chOff x="0" y="0"/>
          <a:chExt cx="0" cy="0"/>
        </a:xfrm>
      </p:grpSpPr>
      <p:sp>
        <p:nvSpPr>
          <p:cNvPr id="19"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1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Slide examples_Killer slides_Final.pptx</a:t>
            </a:r>
            <a:endParaRPr lang="en-US" sz="700" dirty="0">
              <a:solidFill>
                <a:schemeClr val="bg1">
                  <a:lumMod val="50000"/>
                </a:schemeClr>
              </a:solidFill>
              <a:latin typeface="+mn-lt"/>
              <a:sym typeface="Trebuchet MS" panose="020B0603020202020204" pitchFamily="34" charset="0"/>
            </a:endParaRPr>
          </a:p>
        </p:txBody>
      </p:sp>
      <p:pic>
        <p:nvPicPr>
          <p:cNvPr id="17" name="Picture 16"/>
          <p:cNvPicPr>
            <a:picLocks noChangeAspect="1"/>
          </p:cNvPicPr>
          <p:nvPr userDrawn="1"/>
        </p:nvPicPr>
        <p:blipFill rotWithShape="1">
          <a:blip r:embed="rId3">
            <a:extLst>
              <a:ext uri="{28A0092B-C50C-407E-A947-70E740481C1C}">
                <a14:useLocalDpi xmlns:a14="http://schemas.microsoft.com/office/drawing/2010/main" val="0"/>
              </a:ext>
            </a:extLst>
          </a:blip>
          <a:srcRect t="7562" b="6867"/>
          <a:stretch/>
        </p:blipFill>
        <p:spPr>
          <a:xfrm>
            <a:off x="3549481" y="3416300"/>
            <a:ext cx="2694666" cy="3441700"/>
          </a:xfrm>
          <a:prstGeom prst="rect">
            <a:avLst/>
          </a:prstGeom>
        </p:spPr>
      </p:pic>
    </p:spTree>
    <p:extLst>
      <p:ext uri="{BB962C8B-B14F-4D97-AF65-F5344CB8AC3E}">
        <p14:creationId xmlns:p14="http://schemas.microsoft.com/office/powerpoint/2010/main" val="1884424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1"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378758" y="3588018"/>
            <a:ext cx="1365250" cy="3382962"/>
          </a:xfrm>
          <a:prstGeom prst="rect">
            <a:avLst/>
          </a:prstGeom>
          <a:noFill/>
          <a:extLst>
            <a:ext uri="{909E8E84-426E-40DD-AFC4-6F175D3DCCD1}">
              <a14:hiddenFill xmlns:a14="http://schemas.microsoft.com/office/drawing/2010/main">
                <a:solidFill>
                  <a:srgbClr val="FFFFFF"/>
                </a:solidFill>
              </a14:hiddenFill>
            </a:ext>
          </a:extLst>
        </p:spPr>
      </p:pic>
      <p:sp>
        <p:nvSpPr>
          <p:cNvPr id="9" name="Pentagon 8"/>
          <p:cNvSpPr/>
          <p:nvPr/>
        </p:nvSpPr>
        <p:spPr bwMode="white">
          <a:xfrm>
            <a:off x="0" y="0"/>
            <a:ext cx="6363546"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a:p>
        </p:txBody>
      </p:sp>
      <p:sp>
        <p:nvSpPr>
          <p:cNvPr id="18"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7 by The Boston Consulting Group, Inc. All rights reserved.</a:t>
            </a:r>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Slide examples_Killer slides_Final.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34870182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chemeClr val="bg1"/>
        </a:soli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17"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Slide examples_Killer slides_Final.pptx</a:t>
            </a:r>
            <a:endParaRPr lang="en-US" sz="700" dirty="0">
              <a:solidFill>
                <a:schemeClr val="bg1">
                  <a:lumMod val="50000"/>
                </a:schemeClr>
              </a:solidFill>
              <a:latin typeface="+mn-lt"/>
              <a:sym typeface="Trebuchet MS" panose="020B0603020202020204" pitchFamily="34" charset="0"/>
            </a:endParaRPr>
          </a:p>
        </p:txBody>
      </p:sp>
      <p:pic>
        <p:nvPicPr>
          <p:cNvPr id="13" name="Picture 12"/>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4428422" y="3407803"/>
            <a:ext cx="2694666" cy="3456551"/>
          </a:xfrm>
          <a:prstGeom prst="rect">
            <a:avLst/>
          </a:prstGeom>
        </p:spPr>
      </p:pic>
    </p:spTree>
    <p:extLst>
      <p:ext uri="{BB962C8B-B14F-4D97-AF65-F5344CB8AC3E}">
        <p14:creationId xmlns:p14="http://schemas.microsoft.com/office/powerpoint/2010/main" val="232485128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490341" y="3588018"/>
            <a:ext cx="1365250" cy="3382962"/>
          </a:xfrm>
          <a:prstGeom prst="rect">
            <a:avLst/>
          </a:prstGeom>
          <a:noFill/>
          <a:extLst>
            <a:ext uri="{909E8E84-426E-40DD-AFC4-6F175D3DCCD1}">
              <a14:hiddenFill xmlns:a14="http://schemas.microsoft.com/office/drawing/2010/main">
                <a:solidFill>
                  <a:srgbClr val="FFFFFF"/>
                </a:solidFill>
              </a14:hiddenFill>
            </a:ext>
          </a:extLst>
        </p:spPr>
      </p:pic>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7 by The Boston Consulting Group, Inc.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Slide examples_Killer slides_Final.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46538353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chemeClr val="bg1"/>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2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Slide examples_Killer slides_Final.pptx</a:t>
            </a:r>
            <a:endParaRPr lang="en-US" sz="700" dirty="0">
              <a:solidFill>
                <a:schemeClr val="bg1">
                  <a:lumMod val="50000"/>
                </a:schemeClr>
              </a:solidFill>
              <a:latin typeface="+mn-lt"/>
              <a:sym typeface="Trebuchet MS" panose="020B0603020202020204" pitchFamily="34" charset="0"/>
            </a:endParaRPr>
          </a:p>
        </p:txBody>
      </p:sp>
      <p:pic>
        <p:nvPicPr>
          <p:cNvPr id="14" name="Picture 13"/>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6524770" y="3407803"/>
            <a:ext cx="2694666" cy="3456551"/>
          </a:xfrm>
          <a:prstGeom prst="rect">
            <a:avLst/>
          </a:prstGeom>
        </p:spPr>
      </p:pic>
    </p:spTree>
    <p:extLst>
      <p:ext uri="{BB962C8B-B14F-4D97-AF65-F5344CB8AC3E}">
        <p14:creationId xmlns:p14="http://schemas.microsoft.com/office/powerpoint/2010/main" val="349606409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7 by The Boston Consulting Group, Inc. All rights reserved.</a:t>
            </a:r>
          </a:p>
        </p:txBody>
      </p:sp>
      <p:sp>
        <p:nvSpPr>
          <p:cNvPr id="10" name="TextBox 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1"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Slide examples_Killer slides_Final.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401724019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D. Big statement icon">
    <p:bg>
      <p:bgPr>
        <a:solidFill>
          <a:schemeClr val="bg1"/>
        </a:soli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9"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Slide examples_Killer slides_Final.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53753125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048F4DF-7BAD-9DF7-65B4-9D5C14A48B10}"/>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2B9726CD-5AC4-6B41-8D45-C7CEAA6314B3}"/>
              </a:ext>
            </a:extLst>
          </p:cNvPr>
          <p:cNvSpPr>
            <a:spLocks noGrp="1"/>
          </p:cNvSpPr>
          <p:nvPr>
            <p:ph type="dt" sz="half" idx="10"/>
          </p:nvPr>
        </p:nvSpPr>
        <p:spPr/>
        <p:txBody>
          <a:bodyPr/>
          <a:lstStyle/>
          <a:p>
            <a:fld id="{DCAFD43A-663F-4A92-A292-D8EDA73F00B6}" type="datetimeFigureOut">
              <a:rPr lang="en-US" smtClean="0"/>
              <a:t>4/4/2023</a:t>
            </a:fld>
            <a:endParaRPr lang="en-US"/>
          </a:p>
        </p:txBody>
      </p:sp>
      <p:sp>
        <p:nvSpPr>
          <p:cNvPr id="4" name="Footer Placeholder 3">
            <a:extLst>
              <a:ext uri="{FF2B5EF4-FFF2-40B4-BE49-F238E27FC236}">
                <a16:creationId xmlns:a16="http://schemas.microsoft.com/office/drawing/2014/main" id="{8DA6ED45-DB44-DD98-220D-5B88A634A736}"/>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672D86DA-A743-AC91-4642-B32E7C394B48}"/>
              </a:ext>
            </a:extLst>
          </p:cNvPr>
          <p:cNvSpPr>
            <a:spLocks noGrp="1"/>
          </p:cNvSpPr>
          <p:nvPr>
            <p:ph type="sldNum" sz="quarter" idx="12"/>
          </p:nvPr>
        </p:nvSpPr>
        <p:spPr/>
        <p:txBody>
          <a:bodyPr/>
          <a:lstStyle/>
          <a:p>
            <a:fld id="{2EE30602-477F-49EB-9371-72C7D77D4B6F}" type="slidenum">
              <a:rPr lang="en-US" smtClean="0"/>
              <a:t>‹#›</a:t>
            </a:fld>
            <a:endParaRPr lang="en-US"/>
          </a:p>
        </p:txBody>
      </p:sp>
    </p:spTree>
    <p:extLst>
      <p:ext uri="{BB962C8B-B14F-4D97-AF65-F5344CB8AC3E}">
        <p14:creationId xmlns:p14="http://schemas.microsoft.com/office/powerpoint/2010/main" val="3449871016"/>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chemeClr val="accent1"/>
        </a:solidFill>
        <a:effectLst/>
      </p:bgPr>
    </p:bg>
    <p:spTree>
      <p:nvGrpSpPr>
        <p:cNvPr id="1" name=""/>
        <p:cNvGrpSpPr/>
        <p:nvPr/>
      </p:nvGrpSpPr>
      <p:grpSpPr>
        <a:xfrm>
          <a:off x="0" y="0"/>
          <a:ext cx="0" cy="0"/>
          <a:chOff x="0" y="0"/>
          <a:chExt cx="0" cy="0"/>
        </a:xfrm>
      </p:grpSpPr>
      <p:pic>
        <p:nvPicPr>
          <p:cNvPr id="11" name="Picture 10"/>
          <p:cNvPicPr>
            <a:picLocks noChangeAspect="1"/>
          </p:cNvPicPr>
          <p:nvPr/>
        </p:nvPicPr>
        <p:blipFill rotWithShape="1">
          <a:blip r:embed="rId2">
            <a:extLst>
              <a:ext uri="{28A0092B-C50C-407E-A947-70E740481C1C}">
                <a14:useLocalDpi xmlns:a14="http://schemas.microsoft.com/office/drawing/2010/main" val="0"/>
              </a:ext>
            </a:extLst>
          </a:blip>
          <a:srcRect r="3634" b="1258"/>
          <a:stretch/>
        </p:blipFill>
        <p:spPr>
          <a:xfrm rot="16200000" flipH="1">
            <a:off x="6797461" y="110968"/>
            <a:ext cx="769257" cy="10019821"/>
          </a:xfrm>
          <a:prstGeom prst="rect">
            <a:avLst/>
          </a:pr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a:latin typeface="+mn-lt"/>
              <a:sym typeface="Trebuchet MS" panose="020B0603020202020204" pitchFamily="34" charset="0"/>
            </a:endParaRPr>
          </a:p>
        </p:txBody>
      </p:sp>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a:p>
        </p:txBody>
      </p:sp>
    </p:spTree>
    <p:extLst>
      <p:ext uri="{BB962C8B-B14F-4D97-AF65-F5344CB8AC3E}">
        <p14:creationId xmlns:p14="http://schemas.microsoft.com/office/powerpoint/2010/main" val="33855474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p:cNvSpPr txBox="1"/>
          <p:nvPr/>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7 by The Boston Consulting Group, Inc. All rights reserved.</a:t>
            </a:r>
          </a:p>
        </p:txBody>
      </p:sp>
      <p:sp>
        <p:nvSpPr>
          <p:cNvPr id="2" name="Title 1"/>
          <p:cNvSpPr>
            <a:spLocks noGrp="1"/>
          </p:cNvSpPr>
          <p:nvPr>
            <p:ph type="title" hasCustomPrompt="1"/>
          </p:nvPr>
        </p:nvSpPr>
        <p:spPr>
          <a:xfrm>
            <a:off x="630000" y="622800"/>
            <a:ext cx="10933200" cy="332399"/>
          </a:xfrm>
        </p:spPr>
        <p:txBody>
          <a:bodyPr/>
          <a:lstStyle>
            <a:lvl1pPr>
              <a:defRPr>
                <a:solidFill>
                  <a:schemeClr val="bg1"/>
                </a:solidFill>
                <a:latin typeface="+mj-lt"/>
                <a:sym typeface="Trebuchet MS" panose="020B0603020202020204" pitchFamily="34" charset="0"/>
              </a:defRPr>
            </a:lvl1pPr>
          </a:lstStyle>
          <a:p>
            <a:r>
              <a:rPr lang="en-US" dirty="0"/>
              <a:t>Click to add title</a:t>
            </a: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Slide examples_Killer slides_Final.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75471522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108638" y="3594368"/>
            <a:ext cx="1365250" cy="3382962"/>
          </a:xfrm>
          <a:prstGeom prst="rect">
            <a:avLst/>
          </a:prstGeom>
          <a:noFill/>
          <a:extLst>
            <a:ext uri="{909E8E84-426E-40DD-AFC4-6F175D3DCCD1}">
              <a14:hiddenFill xmlns:a14="http://schemas.microsoft.com/office/drawing/2010/main">
                <a:solidFill>
                  <a:srgbClr val="FFFFFF"/>
                </a:solidFill>
              </a14:hiddenFill>
            </a:ext>
          </a:extLst>
        </p:spPr>
      </p:pic>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chemeClr val="tx2"/>
                </a:solidFill>
                <a:latin typeface="+mn-lt"/>
                <a:sym typeface="Trebuchet MS" panose="020B0603020202020204" pitchFamily="34" charset="0"/>
              </a:rPr>
              <a:t>Table of contents</a:t>
            </a:r>
          </a:p>
        </p:txBody>
      </p:sp>
      <p:sp>
        <p:nvSpPr>
          <p:cNvPr id="15"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a:p>
        </p:txBody>
      </p:sp>
      <p:sp>
        <p:nvSpPr>
          <p:cNvPr id="2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7 by The Boston Consulting Group, Inc. All rights reserved.</a:t>
            </a: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Slide examples_Killer slides_Final.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45834082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p:cSld name="D. 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6"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7 by The Boston Consulting Group, Inc. All rights reserved.</a:t>
            </a:r>
          </a:p>
        </p:txBody>
      </p:sp>
      <p:sp>
        <p:nvSpPr>
          <p:cNvPr id="11" name="TextBox 10"/>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Slide examples_Killer slides_Final.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27430975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D. Blank">
    <p:bg>
      <p:bgPr>
        <a:solidFill>
          <a:schemeClr val="bg1"/>
        </a:solidFill>
        <a:effectLst/>
      </p:bgPr>
    </p:bg>
    <p:spTree>
      <p:nvGrpSpPr>
        <p:cNvPr id="1" name=""/>
        <p:cNvGrpSpPr/>
        <p:nvPr/>
      </p:nvGrpSpPr>
      <p:grpSpPr>
        <a:xfrm>
          <a:off x="0" y="0"/>
          <a:ext cx="0" cy="0"/>
          <a:chOff x="0" y="0"/>
          <a:chExt cx="0" cy="0"/>
        </a:xfrm>
      </p:grpSpPr>
      <p:sp>
        <p:nvSpPr>
          <p:cNvPr id="7" name="Date Placeholder 6"/>
          <p:cNvSpPr>
            <a:spLocks noGrp="1"/>
          </p:cNvSpPr>
          <p:nvPr>
            <p:ph type="dt" sz="half" idx="10"/>
          </p:nvPr>
        </p:nvSpPr>
        <p:spPr/>
        <p:txBody>
          <a:bodyPr/>
          <a:lstStyle>
            <a:lvl1pPr>
              <a:defRPr>
                <a:latin typeface="+mn-lt"/>
                <a:sym typeface="Trebuchet MS" panose="020B0603020202020204" pitchFamily="34" charset="0"/>
              </a:defRPr>
            </a:lvl1pPr>
          </a:lstStyle>
          <a:p>
            <a:endParaRPr lang="en-US"/>
          </a:p>
        </p:txBody>
      </p:sp>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Slide examples_Killer slides_Final.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2892381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D. Disclaimer">
    <p:spTree>
      <p:nvGrpSpPr>
        <p:cNvPr id="1" name=""/>
        <p:cNvGrpSpPr/>
        <p:nvPr/>
      </p:nvGrpSpPr>
      <p:grpSpPr>
        <a:xfrm>
          <a:off x="0" y="0"/>
          <a:ext cx="0" cy="0"/>
          <a:chOff x="0" y="0"/>
          <a:chExt cx="0" cy="0"/>
        </a:xfrm>
      </p:grpSpPr>
      <p:sp>
        <p:nvSpPr>
          <p:cNvPr id="6" name="Rectangle 5"/>
          <p:cNvSpPr/>
          <p:nvPr/>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dirty="0">
                <a:latin typeface="+mn-lt"/>
                <a:sym typeface="Trebuchet MS" panose="020B0603020202020204" pitchFamily="34" charset="0"/>
              </a:rPr>
              <a:t>The services and materials provided by The Boston Consulting Group (BCG) are subject to BCG's Standard Terms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to update these materials after the date hereof, notwithstanding that such information may become outdat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inaccurate.</a:t>
            </a:r>
          </a:p>
          <a:p>
            <a:pPr indent="0">
              <a:lnSpc>
                <a:spcPct val="100000"/>
              </a:lnSpc>
            </a:pPr>
            <a:r>
              <a:rPr lang="en-US" sz="900" b="0" dirty="0">
                <a:latin typeface="+mn-lt"/>
                <a:sym typeface="Trebuchet MS" panose="020B0603020202020204" pitchFamily="34" charset="0"/>
              </a:rPr>
              <a:t> </a:t>
            </a:r>
          </a:p>
          <a:p>
            <a:pPr indent="0">
              <a:lnSpc>
                <a:spcPct val="100000"/>
              </a:lnSpc>
            </a:pPr>
            <a:r>
              <a:rPr lang="en-US" sz="900" b="0" dirty="0">
                <a:latin typeface="+mn-lt"/>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f this document shall be deemed agreement with and consideration for the foregoing.</a:t>
            </a:r>
          </a:p>
          <a:p>
            <a:pPr indent="0">
              <a:lnSpc>
                <a:spcPct val="100000"/>
              </a:lnSpc>
            </a:pPr>
            <a:endParaRPr lang="en-US" sz="900" b="0" dirty="0">
              <a:latin typeface="+mn-lt"/>
              <a:sym typeface="Trebuchet MS" panose="020B0603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dirty="0">
                <a:latin typeface="+mn-lt"/>
                <a:sym typeface="Trebuchet MS" panose="020B0603020202020204" pitchFamily="34" charset="0"/>
              </a:rPr>
              <a:t>BCG does not provide fairness opinions or valuations of market transactions, and these materials should not be reli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dirty="0">
                <a:gradFill>
                  <a:gsLst>
                    <a:gs pos="100000">
                      <a:schemeClr val="tx2"/>
                    </a:gs>
                    <a:gs pos="2000">
                      <a:schemeClr val="accent2"/>
                    </a:gs>
                  </a:gsLst>
                  <a:lin ang="2700000" scaled="0"/>
                </a:gradFill>
                <a:latin typeface="+mn-lt"/>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4" name="Date Placeholder 3"/>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1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Slide examples_Killer slides_Final.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80307623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type="blank" preserve="1">
  <p:cSld name="D. End">
    <p:spTree>
      <p:nvGrpSpPr>
        <p:cNvPr id="1" name=""/>
        <p:cNvGrpSpPr/>
        <p:nvPr/>
      </p:nvGrpSpPr>
      <p:grpSpPr>
        <a:xfrm>
          <a:off x="0" y="0"/>
          <a:ext cx="0" cy="0"/>
          <a:chOff x="0" y="0"/>
          <a:chExt cx="0" cy="0"/>
        </a:xfrm>
      </p:grpSpPr>
      <p:pic>
        <p:nvPicPr>
          <p:cNvPr id="9" name="TitleAndEndImages"/>
          <p:cNvPicPr>
            <a:picLocks noChangeAspect="1"/>
          </p:cNvPicPr>
          <p:nvPr userDrawn="1">
            <p:custDataLst>
              <p:tags r:id="rId1"/>
            </p:custDataLst>
          </p:nvPr>
        </p:nvPicPr>
        <p:blipFill>
          <a:blip r:embed="rId3">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11" name="Rectangle 10"/>
          <p:cNvSpPr/>
          <p:nvPr/>
        </p:nvSpPr>
        <p:spPr bwMode="black">
          <a:xfrm>
            <a:off x="626289" y="626321"/>
            <a:ext cx="5610517" cy="5532504"/>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a:solidFill>
                <a:prstClr val="white"/>
              </a:solidFill>
              <a:latin typeface="+mn-lt"/>
              <a:sym typeface="Trebuchet MS" panose="020B0603020202020204" pitchFamily="34" charset="0"/>
            </a:endParaRPr>
          </a:p>
        </p:txBody>
      </p:sp>
      <p:grpSp>
        <p:nvGrpSpPr>
          <p:cNvPr id="12" name="Group 4"/>
          <p:cNvGrpSpPr>
            <a:grpSpLocks noChangeAspect="1"/>
          </p:cNvGrpSpPr>
          <p:nvPr/>
        </p:nvGrpSpPr>
        <p:grpSpPr bwMode="auto">
          <a:xfrm>
            <a:off x="926090" y="2722052"/>
            <a:ext cx="4371144" cy="1344304"/>
            <a:chOff x="585" y="2014"/>
            <a:chExt cx="5583" cy="1717"/>
          </a:xfrm>
          <a:solidFill>
            <a:schemeClr val="bg1"/>
          </a:solidFill>
        </p:grpSpPr>
        <p:sp>
          <p:nvSpPr>
            <p:cNvPr id="13" name="Freeform 5"/>
            <p:cNvSpPr>
              <a:spLocks noEditPoints="1"/>
            </p:cNvSpPr>
            <p:nvPr/>
          </p:nvSpPr>
          <p:spPr bwMode="auto">
            <a:xfrm>
              <a:off x="585" y="2014"/>
              <a:ext cx="2558" cy="1055"/>
            </a:xfrm>
            <a:custGeom>
              <a:avLst/>
              <a:gdLst>
                <a:gd name="T0" fmla="*/ 123 w 1081"/>
                <a:gd name="T1" fmla="*/ 32 h 445"/>
                <a:gd name="T2" fmla="*/ 171 w 1081"/>
                <a:gd name="T3" fmla="*/ 25 h 445"/>
                <a:gd name="T4" fmla="*/ 150 w 1081"/>
                <a:gd name="T5" fmla="*/ 204 h 445"/>
                <a:gd name="T6" fmla="*/ 189 w 1081"/>
                <a:gd name="T7" fmla="*/ 420 h 445"/>
                <a:gd name="T8" fmla="*/ 123 w 1081"/>
                <a:gd name="T9" fmla="*/ 219 h 445"/>
                <a:gd name="T10" fmla="*/ 293 w 1081"/>
                <a:gd name="T11" fmla="*/ 318 h 445"/>
                <a:gd name="T12" fmla="*/ 905 w 1081"/>
                <a:gd name="T13" fmla="*/ 248 h 445"/>
                <a:gd name="T14" fmla="*/ 910 w 1081"/>
                <a:gd name="T15" fmla="*/ 260 h 445"/>
                <a:gd name="T16" fmla="*/ 974 w 1081"/>
                <a:gd name="T17" fmla="*/ 360 h 445"/>
                <a:gd name="T18" fmla="*/ 756 w 1081"/>
                <a:gd name="T19" fmla="*/ 226 h 445"/>
                <a:gd name="T20" fmla="*/ 1000 w 1081"/>
                <a:gd name="T21" fmla="*/ 127 h 445"/>
                <a:gd name="T22" fmla="*/ 1011 w 1081"/>
                <a:gd name="T23" fmla="*/ 132 h 445"/>
                <a:gd name="T24" fmla="*/ 1006 w 1081"/>
                <a:gd name="T25" fmla="*/ 4 h 445"/>
                <a:gd name="T26" fmla="*/ 994 w 1081"/>
                <a:gd name="T27" fmla="*/ 39 h 445"/>
                <a:gd name="T28" fmla="*/ 882 w 1081"/>
                <a:gd name="T29" fmla="*/ 0 h 445"/>
                <a:gd name="T30" fmla="*/ 686 w 1081"/>
                <a:gd name="T31" fmla="*/ 286 h 445"/>
                <a:gd name="T32" fmla="*/ 563 w 1081"/>
                <a:gd name="T33" fmla="*/ 429 h 445"/>
                <a:gd name="T34" fmla="*/ 554 w 1081"/>
                <a:gd name="T35" fmla="*/ 16 h 445"/>
                <a:gd name="T36" fmla="*/ 667 w 1081"/>
                <a:gd name="T37" fmla="*/ 109 h 445"/>
                <a:gd name="T38" fmla="*/ 672 w 1081"/>
                <a:gd name="T39" fmla="*/ 4 h 445"/>
                <a:gd name="T40" fmla="*/ 661 w 1081"/>
                <a:gd name="T41" fmla="*/ 7 h 445"/>
                <a:gd name="T42" fmla="*/ 655 w 1081"/>
                <a:gd name="T43" fmla="*/ 38 h 445"/>
                <a:gd name="T44" fmla="*/ 348 w 1081"/>
                <a:gd name="T45" fmla="*/ 227 h 445"/>
                <a:gd name="T46" fmla="*/ 349 w 1081"/>
                <a:gd name="T47" fmla="*/ 261 h 445"/>
                <a:gd name="T48" fmla="*/ 220 w 1081"/>
                <a:gd name="T49" fmla="*/ 206 h 445"/>
                <a:gd name="T50" fmla="*/ 168 w 1081"/>
                <a:gd name="T51" fmla="*/ 8 h 445"/>
                <a:gd name="T52" fmla="*/ 0 w 1081"/>
                <a:gd name="T53" fmla="*/ 8 h 445"/>
                <a:gd name="T54" fmla="*/ 4 w 1081"/>
                <a:gd name="T55" fmla="*/ 21 h 445"/>
                <a:gd name="T56" fmla="*/ 55 w 1081"/>
                <a:gd name="T57" fmla="*/ 336 h 445"/>
                <a:gd name="T58" fmla="*/ 0 w 1081"/>
                <a:gd name="T59" fmla="*/ 430 h 445"/>
                <a:gd name="T60" fmla="*/ 88 w 1081"/>
                <a:gd name="T61" fmla="*/ 435 h 445"/>
                <a:gd name="T62" fmla="*/ 366 w 1081"/>
                <a:gd name="T63" fmla="*/ 323 h 445"/>
                <a:gd name="T64" fmla="*/ 561 w 1081"/>
                <a:gd name="T65" fmla="*/ 445 h 445"/>
                <a:gd name="T66" fmla="*/ 679 w 1081"/>
                <a:gd name="T67" fmla="*/ 405 h 445"/>
                <a:gd name="T68" fmla="*/ 691 w 1081"/>
                <a:gd name="T69" fmla="*/ 441 h 445"/>
                <a:gd name="T70" fmla="*/ 696 w 1081"/>
                <a:gd name="T71" fmla="*/ 321 h 445"/>
                <a:gd name="T72" fmla="*/ 886 w 1081"/>
                <a:gd name="T73" fmla="*/ 445 h 445"/>
                <a:gd name="T74" fmla="*/ 1041 w 1081"/>
                <a:gd name="T75" fmla="*/ 387 h 445"/>
                <a:gd name="T76" fmla="*/ 1040 w 1081"/>
                <a:gd name="T77" fmla="*/ 323 h 445"/>
                <a:gd name="T78" fmla="*/ 1081 w 1081"/>
                <a:gd name="T79" fmla="*/ 255 h 445"/>
                <a:gd name="T80" fmla="*/ 1002 w 1081"/>
                <a:gd name="T81" fmla="*/ 249 h 4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081" h="445">
                  <a:moveTo>
                    <a:pt x="123" y="204"/>
                  </a:moveTo>
                  <a:cubicBezTo>
                    <a:pt x="123" y="32"/>
                    <a:pt x="123" y="32"/>
                    <a:pt x="123" y="32"/>
                  </a:cubicBezTo>
                  <a:cubicBezTo>
                    <a:pt x="123" y="28"/>
                    <a:pt x="124" y="27"/>
                    <a:pt x="130" y="26"/>
                  </a:cubicBezTo>
                  <a:cubicBezTo>
                    <a:pt x="139" y="25"/>
                    <a:pt x="161" y="25"/>
                    <a:pt x="171" y="25"/>
                  </a:cubicBezTo>
                  <a:cubicBezTo>
                    <a:pt x="223" y="25"/>
                    <a:pt x="257" y="56"/>
                    <a:pt x="257" y="115"/>
                  </a:cubicBezTo>
                  <a:cubicBezTo>
                    <a:pt x="257" y="180"/>
                    <a:pt x="217" y="204"/>
                    <a:pt x="150" y="204"/>
                  </a:cubicBezTo>
                  <a:lnTo>
                    <a:pt x="123" y="204"/>
                  </a:lnTo>
                  <a:close/>
                  <a:moveTo>
                    <a:pt x="189" y="420"/>
                  </a:moveTo>
                  <a:cubicBezTo>
                    <a:pt x="132" y="420"/>
                    <a:pt x="123" y="411"/>
                    <a:pt x="123" y="332"/>
                  </a:cubicBezTo>
                  <a:cubicBezTo>
                    <a:pt x="123" y="219"/>
                    <a:pt x="123" y="219"/>
                    <a:pt x="123" y="219"/>
                  </a:cubicBezTo>
                  <a:cubicBezTo>
                    <a:pt x="149" y="219"/>
                    <a:pt x="149" y="219"/>
                    <a:pt x="149" y="219"/>
                  </a:cubicBezTo>
                  <a:cubicBezTo>
                    <a:pt x="224" y="219"/>
                    <a:pt x="293" y="237"/>
                    <a:pt x="293" y="318"/>
                  </a:cubicBezTo>
                  <a:cubicBezTo>
                    <a:pt x="293" y="382"/>
                    <a:pt x="255" y="420"/>
                    <a:pt x="189" y="420"/>
                  </a:cubicBezTo>
                  <a:close/>
                  <a:moveTo>
                    <a:pt x="905" y="248"/>
                  </a:moveTo>
                  <a:cubicBezTo>
                    <a:pt x="905" y="255"/>
                    <a:pt x="905" y="255"/>
                    <a:pt x="905" y="255"/>
                  </a:cubicBezTo>
                  <a:cubicBezTo>
                    <a:pt x="905" y="258"/>
                    <a:pt x="906" y="260"/>
                    <a:pt x="910" y="260"/>
                  </a:cubicBezTo>
                  <a:cubicBezTo>
                    <a:pt x="974" y="262"/>
                    <a:pt x="974" y="269"/>
                    <a:pt x="974" y="319"/>
                  </a:cubicBezTo>
                  <a:cubicBezTo>
                    <a:pt x="974" y="360"/>
                    <a:pt x="974" y="360"/>
                    <a:pt x="974" y="360"/>
                  </a:cubicBezTo>
                  <a:cubicBezTo>
                    <a:pt x="974" y="402"/>
                    <a:pt x="946" y="429"/>
                    <a:pt x="890" y="429"/>
                  </a:cubicBezTo>
                  <a:cubicBezTo>
                    <a:pt x="796" y="429"/>
                    <a:pt x="756" y="339"/>
                    <a:pt x="756" y="226"/>
                  </a:cubicBezTo>
                  <a:cubicBezTo>
                    <a:pt x="756" y="119"/>
                    <a:pt x="785" y="16"/>
                    <a:pt x="888" y="16"/>
                  </a:cubicBezTo>
                  <a:cubicBezTo>
                    <a:pt x="947" y="16"/>
                    <a:pt x="996" y="56"/>
                    <a:pt x="1000" y="127"/>
                  </a:cubicBezTo>
                  <a:cubicBezTo>
                    <a:pt x="1000" y="132"/>
                    <a:pt x="1002" y="132"/>
                    <a:pt x="1005" y="132"/>
                  </a:cubicBezTo>
                  <a:cubicBezTo>
                    <a:pt x="1011" y="132"/>
                    <a:pt x="1011" y="132"/>
                    <a:pt x="1011" y="132"/>
                  </a:cubicBezTo>
                  <a:cubicBezTo>
                    <a:pt x="1011" y="103"/>
                    <a:pt x="1010" y="34"/>
                    <a:pt x="1010" y="4"/>
                  </a:cubicBezTo>
                  <a:cubicBezTo>
                    <a:pt x="1006" y="4"/>
                    <a:pt x="1006" y="4"/>
                    <a:pt x="1006" y="4"/>
                  </a:cubicBezTo>
                  <a:cubicBezTo>
                    <a:pt x="1002" y="4"/>
                    <a:pt x="1000" y="5"/>
                    <a:pt x="1000" y="7"/>
                  </a:cubicBezTo>
                  <a:cubicBezTo>
                    <a:pt x="994" y="39"/>
                    <a:pt x="994" y="39"/>
                    <a:pt x="994" y="39"/>
                  </a:cubicBezTo>
                  <a:cubicBezTo>
                    <a:pt x="993" y="39"/>
                    <a:pt x="993" y="39"/>
                    <a:pt x="993" y="39"/>
                  </a:cubicBezTo>
                  <a:cubicBezTo>
                    <a:pt x="964" y="12"/>
                    <a:pt x="921" y="0"/>
                    <a:pt x="882" y="0"/>
                  </a:cubicBezTo>
                  <a:cubicBezTo>
                    <a:pt x="760" y="0"/>
                    <a:pt x="680" y="103"/>
                    <a:pt x="680" y="227"/>
                  </a:cubicBezTo>
                  <a:cubicBezTo>
                    <a:pt x="680" y="248"/>
                    <a:pt x="682" y="268"/>
                    <a:pt x="686" y="286"/>
                  </a:cubicBezTo>
                  <a:cubicBezTo>
                    <a:pt x="685" y="304"/>
                    <a:pt x="685" y="304"/>
                    <a:pt x="685" y="304"/>
                  </a:cubicBezTo>
                  <a:cubicBezTo>
                    <a:pt x="678" y="399"/>
                    <a:pt x="622" y="429"/>
                    <a:pt x="563" y="429"/>
                  </a:cubicBezTo>
                  <a:cubicBezTo>
                    <a:pt x="469" y="429"/>
                    <a:pt x="424" y="343"/>
                    <a:pt x="424" y="226"/>
                  </a:cubicBezTo>
                  <a:cubicBezTo>
                    <a:pt x="424" y="119"/>
                    <a:pt x="451" y="16"/>
                    <a:pt x="554" y="16"/>
                  </a:cubicBezTo>
                  <a:cubicBezTo>
                    <a:pt x="606" y="16"/>
                    <a:pt x="651" y="49"/>
                    <a:pt x="661" y="104"/>
                  </a:cubicBezTo>
                  <a:cubicBezTo>
                    <a:pt x="662" y="109"/>
                    <a:pt x="663" y="109"/>
                    <a:pt x="667" y="109"/>
                  </a:cubicBezTo>
                  <a:cubicBezTo>
                    <a:pt x="673" y="109"/>
                    <a:pt x="673" y="109"/>
                    <a:pt x="673" y="109"/>
                  </a:cubicBezTo>
                  <a:cubicBezTo>
                    <a:pt x="672" y="80"/>
                    <a:pt x="672" y="34"/>
                    <a:pt x="672" y="4"/>
                  </a:cubicBezTo>
                  <a:cubicBezTo>
                    <a:pt x="668" y="4"/>
                    <a:pt x="668" y="4"/>
                    <a:pt x="668" y="4"/>
                  </a:cubicBezTo>
                  <a:cubicBezTo>
                    <a:pt x="663" y="4"/>
                    <a:pt x="662" y="5"/>
                    <a:pt x="661" y="7"/>
                  </a:cubicBezTo>
                  <a:cubicBezTo>
                    <a:pt x="655" y="38"/>
                    <a:pt x="655" y="38"/>
                    <a:pt x="655" y="38"/>
                  </a:cubicBezTo>
                  <a:cubicBezTo>
                    <a:pt x="655" y="38"/>
                    <a:pt x="655" y="38"/>
                    <a:pt x="655" y="38"/>
                  </a:cubicBezTo>
                  <a:cubicBezTo>
                    <a:pt x="626" y="12"/>
                    <a:pt x="585" y="0"/>
                    <a:pt x="546" y="0"/>
                  </a:cubicBezTo>
                  <a:cubicBezTo>
                    <a:pt x="427" y="0"/>
                    <a:pt x="348" y="103"/>
                    <a:pt x="348" y="227"/>
                  </a:cubicBezTo>
                  <a:cubicBezTo>
                    <a:pt x="348" y="239"/>
                    <a:pt x="349" y="250"/>
                    <a:pt x="351" y="261"/>
                  </a:cubicBezTo>
                  <a:cubicBezTo>
                    <a:pt x="349" y="261"/>
                    <a:pt x="349" y="261"/>
                    <a:pt x="349" y="261"/>
                  </a:cubicBezTo>
                  <a:cubicBezTo>
                    <a:pt x="325" y="227"/>
                    <a:pt x="278" y="210"/>
                    <a:pt x="220" y="207"/>
                  </a:cubicBezTo>
                  <a:cubicBezTo>
                    <a:pt x="220" y="206"/>
                    <a:pt x="220" y="206"/>
                    <a:pt x="220" y="206"/>
                  </a:cubicBezTo>
                  <a:cubicBezTo>
                    <a:pt x="283" y="194"/>
                    <a:pt x="325" y="162"/>
                    <a:pt x="325" y="109"/>
                  </a:cubicBezTo>
                  <a:cubicBezTo>
                    <a:pt x="325" y="29"/>
                    <a:pt x="238" y="8"/>
                    <a:pt x="168" y="8"/>
                  </a:cubicBezTo>
                  <a:cubicBezTo>
                    <a:pt x="149" y="8"/>
                    <a:pt x="106" y="10"/>
                    <a:pt x="93" y="10"/>
                  </a:cubicBezTo>
                  <a:cubicBezTo>
                    <a:pt x="62" y="10"/>
                    <a:pt x="29" y="9"/>
                    <a:pt x="0" y="8"/>
                  </a:cubicBezTo>
                  <a:cubicBezTo>
                    <a:pt x="0" y="15"/>
                    <a:pt x="0" y="15"/>
                    <a:pt x="0" y="15"/>
                  </a:cubicBezTo>
                  <a:cubicBezTo>
                    <a:pt x="0" y="19"/>
                    <a:pt x="1" y="21"/>
                    <a:pt x="4" y="21"/>
                  </a:cubicBezTo>
                  <a:cubicBezTo>
                    <a:pt x="55" y="23"/>
                    <a:pt x="55" y="30"/>
                    <a:pt x="55" y="109"/>
                  </a:cubicBezTo>
                  <a:cubicBezTo>
                    <a:pt x="55" y="336"/>
                    <a:pt x="55" y="336"/>
                    <a:pt x="55" y="336"/>
                  </a:cubicBezTo>
                  <a:cubicBezTo>
                    <a:pt x="55" y="415"/>
                    <a:pt x="55" y="422"/>
                    <a:pt x="5" y="424"/>
                  </a:cubicBezTo>
                  <a:cubicBezTo>
                    <a:pt x="1" y="424"/>
                    <a:pt x="0" y="426"/>
                    <a:pt x="0" y="430"/>
                  </a:cubicBezTo>
                  <a:cubicBezTo>
                    <a:pt x="0" y="436"/>
                    <a:pt x="0" y="436"/>
                    <a:pt x="0" y="436"/>
                  </a:cubicBezTo>
                  <a:cubicBezTo>
                    <a:pt x="30" y="436"/>
                    <a:pt x="58" y="435"/>
                    <a:pt x="88" y="435"/>
                  </a:cubicBezTo>
                  <a:cubicBezTo>
                    <a:pt x="126" y="435"/>
                    <a:pt x="142" y="436"/>
                    <a:pt x="192" y="436"/>
                  </a:cubicBezTo>
                  <a:cubicBezTo>
                    <a:pt x="297" y="436"/>
                    <a:pt x="361" y="387"/>
                    <a:pt x="366" y="323"/>
                  </a:cubicBezTo>
                  <a:cubicBezTo>
                    <a:pt x="367" y="323"/>
                    <a:pt x="367" y="323"/>
                    <a:pt x="367" y="323"/>
                  </a:cubicBezTo>
                  <a:cubicBezTo>
                    <a:pt x="399" y="398"/>
                    <a:pt x="469" y="445"/>
                    <a:pt x="561" y="445"/>
                  </a:cubicBezTo>
                  <a:cubicBezTo>
                    <a:pt x="605" y="445"/>
                    <a:pt x="645" y="431"/>
                    <a:pt x="678" y="405"/>
                  </a:cubicBezTo>
                  <a:cubicBezTo>
                    <a:pt x="679" y="405"/>
                    <a:pt x="679" y="405"/>
                    <a:pt x="679" y="405"/>
                  </a:cubicBezTo>
                  <a:cubicBezTo>
                    <a:pt x="684" y="438"/>
                    <a:pt x="684" y="438"/>
                    <a:pt x="684" y="438"/>
                  </a:cubicBezTo>
                  <a:cubicBezTo>
                    <a:pt x="685" y="440"/>
                    <a:pt x="687" y="441"/>
                    <a:pt x="691" y="441"/>
                  </a:cubicBezTo>
                  <a:cubicBezTo>
                    <a:pt x="695" y="441"/>
                    <a:pt x="695" y="441"/>
                    <a:pt x="695" y="441"/>
                  </a:cubicBezTo>
                  <a:cubicBezTo>
                    <a:pt x="695" y="420"/>
                    <a:pt x="696" y="363"/>
                    <a:pt x="696" y="321"/>
                  </a:cubicBezTo>
                  <a:cubicBezTo>
                    <a:pt x="697" y="321"/>
                    <a:pt x="697" y="321"/>
                    <a:pt x="697" y="321"/>
                  </a:cubicBezTo>
                  <a:cubicBezTo>
                    <a:pt x="729" y="399"/>
                    <a:pt x="800" y="445"/>
                    <a:pt x="886" y="445"/>
                  </a:cubicBezTo>
                  <a:cubicBezTo>
                    <a:pt x="970" y="445"/>
                    <a:pt x="1001" y="393"/>
                    <a:pt x="1037" y="393"/>
                  </a:cubicBezTo>
                  <a:cubicBezTo>
                    <a:pt x="1040" y="393"/>
                    <a:pt x="1041" y="392"/>
                    <a:pt x="1041" y="387"/>
                  </a:cubicBezTo>
                  <a:cubicBezTo>
                    <a:pt x="1041" y="380"/>
                    <a:pt x="1040" y="362"/>
                    <a:pt x="1040" y="351"/>
                  </a:cubicBezTo>
                  <a:cubicBezTo>
                    <a:pt x="1040" y="323"/>
                    <a:pt x="1040" y="323"/>
                    <a:pt x="1040" y="323"/>
                  </a:cubicBezTo>
                  <a:cubicBezTo>
                    <a:pt x="1040" y="269"/>
                    <a:pt x="1040" y="262"/>
                    <a:pt x="1076" y="260"/>
                  </a:cubicBezTo>
                  <a:cubicBezTo>
                    <a:pt x="1081" y="260"/>
                    <a:pt x="1081" y="258"/>
                    <a:pt x="1081" y="255"/>
                  </a:cubicBezTo>
                  <a:cubicBezTo>
                    <a:pt x="1081" y="248"/>
                    <a:pt x="1081" y="248"/>
                    <a:pt x="1081" y="248"/>
                  </a:cubicBezTo>
                  <a:cubicBezTo>
                    <a:pt x="1052" y="248"/>
                    <a:pt x="1032" y="249"/>
                    <a:pt x="1002" y="249"/>
                  </a:cubicBezTo>
                  <a:cubicBezTo>
                    <a:pt x="971" y="249"/>
                    <a:pt x="934" y="248"/>
                    <a:pt x="905" y="24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6E6F73"/>
                </a:solidFill>
                <a:latin typeface="+mn-lt"/>
                <a:sym typeface="Trebuchet MS" panose="020B0603020202020204" pitchFamily="34" charset="0"/>
              </a:endParaRPr>
            </a:p>
          </p:txBody>
        </p:sp>
        <p:sp>
          <p:nvSpPr>
            <p:cNvPr id="14" name="Freeform 6"/>
            <p:cNvSpPr>
              <a:spLocks noEditPoints="1"/>
            </p:cNvSpPr>
            <p:nvPr/>
          </p:nvSpPr>
          <p:spPr bwMode="auto">
            <a:xfrm>
              <a:off x="1475" y="3449"/>
              <a:ext cx="4693" cy="282"/>
            </a:xfrm>
            <a:custGeom>
              <a:avLst/>
              <a:gdLst>
                <a:gd name="T0" fmla="*/ 101 w 1984"/>
                <a:gd name="T1" fmla="*/ 32 h 119"/>
                <a:gd name="T2" fmla="*/ 43 w 1984"/>
                <a:gd name="T3" fmla="*/ 12 h 119"/>
                <a:gd name="T4" fmla="*/ 355 w 1984"/>
                <a:gd name="T5" fmla="*/ 29 h 119"/>
                <a:gd name="T6" fmla="*/ 274 w 1984"/>
                <a:gd name="T7" fmla="*/ 117 h 119"/>
                <a:gd name="T8" fmla="*/ 340 w 1984"/>
                <a:gd name="T9" fmla="*/ 31 h 119"/>
                <a:gd name="T10" fmla="*/ 869 w 1984"/>
                <a:gd name="T11" fmla="*/ 82 h 119"/>
                <a:gd name="T12" fmla="*/ 861 w 1984"/>
                <a:gd name="T13" fmla="*/ 6 h 119"/>
                <a:gd name="T14" fmla="*/ 153 w 1984"/>
                <a:gd name="T15" fmla="*/ 117 h 119"/>
                <a:gd name="T16" fmla="*/ 121 w 1984"/>
                <a:gd name="T17" fmla="*/ 117 h 119"/>
                <a:gd name="T18" fmla="*/ 103 w 1984"/>
                <a:gd name="T19" fmla="*/ 38 h 119"/>
                <a:gd name="T20" fmla="*/ 135 w 1984"/>
                <a:gd name="T21" fmla="*/ 38 h 119"/>
                <a:gd name="T22" fmla="*/ 153 w 1984"/>
                <a:gd name="T23" fmla="*/ 117 h 119"/>
                <a:gd name="T24" fmla="*/ 177 w 1984"/>
                <a:gd name="T25" fmla="*/ 38 h 119"/>
                <a:gd name="T26" fmla="*/ 201 w 1984"/>
                <a:gd name="T27" fmla="*/ 73 h 119"/>
                <a:gd name="T28" fmla="*/ 201 w 1984"/>
                <a:gd name="T29" fmla="*/ 78 h 119"/>
                <a:gd name="T30" fmla="*/ 374 w 1984"/>
                <a:gd name="T31" fmla="*/ 79 h 119"/>
                <a:gd name="T32" fmla="*/ 461 w 1984"/>
                <a:gd name="T33" fmla="*/ 117 h 119"/>
                <a:gd name="T34" fmla="*/ 497 w 1984"/>
                <a:gd name="T35" fmla="*/ 41 h 119"/>
                <a:gd name="T36" fmla="*/ 481 w 1984"/>
                <a:gd name="T37" fmla="*/ 119 h 119"/>
                <a:gd name="T38" fmla="*/ 515 w 1984"/>
                <a:gd name="T39" fmla="*/ 61 h 119"/>
                <a:gd name="T40" fmla="*/ 561 w 1984"/>
                <a:gd name="T41" fmla="*/ 44 h 119"/>
                <a:gd name="T42" fmla="*/ 622 w 1984"/>
                <a:gd name="T43" fmla="*/ 36 h 119"/>
                <a:gd name="T44" fmla="*/ 684 w 1984"/>
                <a:gd name="T45" fmla="*/ 53 h 119"/>
                <a:gd name="T46" fmla="*/ 675 w 1984"/>
                <a:gd name="T47" fmla="*/ 84 h 119"/>
                <a:gd name="T48" fmla="*/ 716 w 1984"/>
                <a:gd name="T49" fmla="*/ 43 h 119"/>
                <a:gd name="T50" fmla="*/ 921 w 1984"/>
                <a:gd name="T51" fmla="*/ 119 h 119"/>
                <a:gd name="T52" fmla="*/ 1029 w 1984"/>
                <a:gd name="T53" fmla="*/ 119 h 119"/>
                <a:gd name="T54" fmla="*/ 963 w 1984"/>
                <a:gd name="T55" fmla="*/ 113 h 119"/>
                <a:gd name="T56" fmla="*/ 1030 w 1984"/>
                <a:gd name="T57" fmla="*/ 96 h 119"/>
                <a:gd name="T58" fmla="*/ 1038 w 1984"/>
                <a:gd name="T59" fmla="*/ 119 h 119"/>
                <a:gd name="T60" fmla="*/ 1097 w 1984"/>
                <a:gd name="T61" fmla="*/ 101 h 119"/>
                <a:gd name="T62" fmla="*/ 1080 w 1984"/>
                <a:gd name="T63" fmla="*/ 43 h 119"/>
                <a:gd name="T64" fmla="*/ 1111 w 1984"/>
                <a:gd name="T65" fmla="*/ 38 h 119"/>
                <a:gd name="T66" fmla="*/ 1163 w 1984"/>
                <a:gd name="T67" fmla="*/ 43 h 119"/>
                <a:gd name="T68" fmla="*/ 1243 w 1984"/>
                <a:gd name="T69" fmla="*/ 117 h 119"/>
                <a:gd name="T70" fmla="*/ 1217 w 1984"/>
                <a:gd name="T71" fmla="*/ 38 h 119"/>
                <a:gd name="T72" fmla="*/ 1261 w 1984"/>
                <a:gd name="T73" fmla="*/ 91 h 119"/>
                <a:gd name="T74" fmla="*/ 1276 w 1984"/>
                <a:gd name="T75" fmla="*/ 44 h 119"/>
                <a:gd name="T76" fmla="*/ 1322 w 1984"/>
                <a:gd name="T77" fmla="*/ 61 h 119"/>
                <a:gd name="T78" fmla="*/ 1331 w 1984"/>
                <a:gd name="T79" fmla="*/ 117 h 119"/>
                <a:gd name="T80" fmla="*/ 1367 w 1984"/>
                <a:gd name="T81" fmla="*/ 42 h 119"/>
                <a:gd name="T82" fmla="*/ 1392 w 1984"/>
                <a:gd name="T83" fmla="*/ 53 h 119"/>
                <a:gd name="T84" fmla="*/ 1383 w 1984"/>
                <a:gd name="T85" fmla="*/ 84 h 119"/>
                <a:gd name="T86" fmla="*/ 1424 w 1984"/>
                <a:gd name="T87" fmla="*/ 42 h 119"/>
                <a:gd name="T88" fmla="*/ 1536 w 1984"/>
                <a:gd name="T89" fmla="*/ 87 h 119"/>
                <a:gd name="T90" fmla="*/ 1521 w 1984"/>
                <a:gd name="T91" fmla="*/ 37 h 119"/>
                <a:gd name="T92" fmla="*/ 1503 w 1984"/>
                <a:gd name="T93" fmla="*/ 87 h 119"/>
                <a:gd name="T94" fmla="*/ 1659 w 1984"/>
                <a:gd name="T95" fmla="*/ 104 h 119"/>
                <a:gd name="T96" fmla="*/ 1653 w 1984"/>
                <a:gd name="T97" fmla="*/ 33 h 119"/>
                <a:gd name="T98" fmla="*/ 1625 w 1984"/>
                <a:gd name="T99" fmla="*/ 66 h 119"/>
                <a:gd name="T100" fmla="*/ 1750 w 1984"/>
                <a:gd name="T101" fmla="*/ 111 h 119"/>
                <a:gd name="T102" fmla="*/ 1672 w 1984"/>
                <a:gd name="T103" fmla="*/ 117 h 119"/>
                <a:gd name="T104" fmla="*/ 1738 w 1984"/>
                <a:gd name="T105" fmla="*/ 56 h 119"/>
                <a:gd name="T106" fmla="*/ 1788 w 1984"/>
                <a:gd name="T107" fmla="*/ 36 h 119"/>
                <a:gd name="T108" fmla="*/ 1841 w 1984"/>
                <a:gd name="T109" fmla="*/ 59 h 119"/>
                <a:gd name="T110" fmla="*/ 1875 w 1984"/>
                <a:gd name="T111" fmla="*/ 110 h 119"/>
                <a:gd name="T112" fmla="*/ 1903 w 1984"/>
                <a:gd name="T113" fmla="*/ 71 h 119"/>
                <a:gd name="T114" fmla="*/ 1918 w 1984"/>
                <a:gd name="T115" fmla="*/ 117 h 119"/>
                <a:gd name="T116" fmla="*/ 1984 w 1984"/>
                <a:gd name="T117" fmla="*/ 59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984" h="119">
                  <a:moveTo>
                    <a:pt x="73" y="117"/>
                  </a:moveTo>
                  <a:cubicBezTo>
                    <a:pt x="73" y="113"/>
                    <a:pt x="73" y="113"/>
                    <a:pt x="73" y="113"/>
                  </a:cubicBezTo>
                  <a:cubicBezTo>
                    <a:pt x="73" y="112"/>
                    <a:pt x="72" y="111"/>
                    <a:pt x="71" y="111"/>
                  </a:cubicBezTo>
                  <a:cubicBezTo>
                    <a:pt x="58" y="109"/>
                    <a:pt x="58" y="109"/>
                    <a:pt x="58" y="88"/>
                  </a:cubicBezTo>
                  <a:cubicBezTo>
                    <a:pt x="58" y="12"/>
                    <a:pt x="58" y="12"/>
                    <a:pt x="58" y="12"/>
                  </a:cubicBezTo>
                  <a:cubicBezTo>
                    <a:pt x="58" y="11"/>
                    <a:pt x="59" y="10"/>
                    <a:pt x="60" y="10"/>
                  </a:cubicBezTo>
                  <a:cubicBezTo>
                    <a:pt x="71" y="10"/>
                    <a:pt x="71" y="10"/>
                    <a:pt x="71" y="10"/>
                  </a:cubicBezTo>
                  <a:cubicBezTo>
                    <a:pt x="85" y="10"/>
                    <a:pt x="93" y="12"/>
                    <a:pt x="95" y="31"/>
                  </a:cubicBezTo>
                  <a:cubicBezTo>
                    <a:pt x="96" y="32"/>
                    <a:pt x="96" y="32"/>
                    <a:pt x="97" y="32"/>
                  </a:cubicBezTo>
                  <a:cubicBezTo>
                    <a:pt x="101" y="32"/>
                    <a:pt x="101" y="32"/>
                    <a:pt x="101" y="32"/>
                  </a:cubicBezTo>
                  <a:cubicBezTo>
                    <a:pt x="101" y="24"/>
                    <a:pt x="101" y="10"/>
                    <a:pt x="101" y="2"/>
                  </a:cubicBezTo>
                  <a:cubicBezTo>
                    <a:pt x="94" y="2"/>
                    <a:pt x="85" y="2"/>
                    <a:pt x="71" y="2"/>
                  </a:cubicBezTo>
                  <a:cubicBezTo>
                    <a:pt x="31" y="2"/>
                    <a:pt x="31" y="2"/>
                    <a:pt x="31" y="2"/>
                  </a:cubicBezTo>
                  <a:cubicBezTo>
                    <a:pt x="16" y="2"/>
                    <a:pt x="7" y="2"/>
                    <a:pt x="0" y="2"/>
                  </a:cubicBezTo>
                  <a:cubicBezTo>
                    <a:pt x="0" y="10"/>
                    <a:pt x="0" y="27"/>
                    <a:pt x="0" y="35"/>
                  </a:cubicBezTo>
                  <a:cubicBezTo>
                    <a:pt x="4" y="35"/>
                    <a:pt x="4" y="35"/>
                    <a:pt x="4" y="35"/>
                  </a:cubicBezTo>
                  <a:cubicBezTo>
                    <a:pt x="5" y="35"/>
                    <a:pt x="6" y="34"/>
                    <a:pt x="6" y="33"/>
                  </a:cubicBezTo>
                  <a:cubicBezTo>
                    <a:pt x="8" y="12"/>
                    <a:pt x="16" y="10"/>
                    <a:pt x="30" y="10"/>
                  </a:cubicBezTo>
                  <a:cubicBezTo>
                    <a:pt x="41" y="10"/>
                    <a:pt x="41" y="10"/>
                    <a:pt x="41" y="10"/>
                  </a:cubicBezTo>
                  <a:cubicBezTo>
                    <a:pt x="43" y="10"/>
                    <a:pt x="43" y="11"/>
                    <a:pt x="43" y="12"/>
                  </a:cubicBezTo>
                  <a:cubicBezTo>
                    <a:pt x="43" y="88"/>
                    <a:pt x="43" y="88"/>
                    <a:pt x="43" y="88"/>
                  </a:cubicBezTo>
                  <a:cubicBezTo>
                    <a:pt x="43" y="109"/>
                    <a:pt x="43" y="109"/>
                    <a:pt x="30" y="111"/>
                  </a:cubicBezTo>
                  <a:cubicBezTo>
                    <a:pt x="29" y="111"/>
                    <a:pt x="29" y="112"/>
                    <a:pt x="29" y="113"/>
                  </a:cubicBezTo>
                  <a:cubicBezTo>
                    <a:pt x="29" y="117"/>
                    <a:pt x="29" y="117"/>
                    <a:pt x="29" y="117"/>
                  </a:cubicBezTo>
                  <a:cubicBezTo>
                    <a:pt x="36" y="117"/>
                    <a:pt x="43" y="117"/>
                    <a:pt x="51" y="117"/>
                  </a:cubicBezTo>
                  <a:cubicBezTo>
                    <a:pt x="59" y="117"/>
                    <a:pt x="65" y="117"/>
                    <a:pt x="73" y="117"/>
                  </a:cubicBezTo>
                  <a:close/>
                  <a:moveTo>
                    <a:pt x="367" y="85"/>
                  </a:moveTo>
                  <a:cubicBezTo>
                    <a:pt x="367" y="65"/>
                    <a:pt x="349" y="57"/>
                    <a:pt x="330" y="56"/>
                  </a:cubicBezTo>
                  <a:cubicBezTo>
                    <a:pt x="330" y="55"/>
                    <a:pt x="330" y="55"/>
                    <a:pt x="330" y="55"/>
                  </a:cubicBezTo>
                  <a:cubicBezTo>
                    <a:pt x="344" y="52"/>
                    <a:pt x="355" y="44"/>
                    <a:pt x="355" y="29"/>
                  </a:cubicBezTo>
                  <a:cubicBezTo>
                    <a:pt x="355" y="8"/>
                    <a:pt x="332" y="2"/>
                    <a:pt x="313" y="2"/>
                  </a:cubicBezTo>
                  <a:cubicBezTo>
                    <a:pt x="307" y="2"/>
                    <a:pt x="304" y="2"/>
                    <a:pt x="297" y="2"/>
                  </a:cubicBezTo>
                  <a:cubicBezTo>
                    <a:pt x="289" y="2"/>
                    <a:pt x="281" y="2"/>
                    <a:pt x="274" y="2"/>
                  </a:cubicBezTo>
                  <a:cubicBezTo>
                    <a:pt x="274" y="7"/>
                    <a:pt x="274" y="7"/>
                    <a:pt x="274" y="7"/>
                  </a:cubicBezTo>
                  <a:cubicBezTo>
                    <a:pt x="274" y="8"/>
                    <a:pt x="274" y="8"/>
                    <a:pt x="275" y="8"/>
                  </a:cubicBezTo>
                  <a:cubicBezTo>
                    <a:pt x="288" y="10"/>
                    <a:pt x="288" y="11"/>
                    <a:pt x="288" y="32"/>
                  </a:cubicBezTo>
                  <a:cubicBezTo>
                    <a:pt x="288" y="88"/>
                    <a:pt x="288" y="88"/>
                    <a:pt x="288" y="88"/>
                  </a:cubicBezTo>
                  <a:cubicBezTo>
                    <a:pt x="288" y="109"/>
                    <a:pt x="288" y="109"/>
                    <a:pt x="275" y="111"/>
                  </a:cubicBezTo>
                  <a:cubicBezTo>
                    <a:pt x="274" y="111"/>
                    <a:pt x="274" y="112"/>
                    <a:pt x="274" y="113"/>
                  </a:cubicBezTo>
                  <a:cubicBezTo>
                    <a:pt x="274" y="117"/>
                    <a:pt x="274" y="117"/>
                    <a:pt x="274" y="117"/>
                  </a:cubicBezTo>
                  <a:cubicBezTo>
                    <a:pt x="282" y="117"/>
                    <a:pt x="289" y="117"/>
                    <a:pt x="297" y="117"/>
                  </a:cubicBezTo>
                  <a:cubicBezTo>
                    <a:pt x="306" y="117"/>
                    <a:pt x="310" y="117"/>
                    <a:pt x="320" y="117"/>
                  </a:cubicBezTo>
                  <a:cubicBezTo>
                    <a:pt x="349" y="117"/>
                    <a:pt x="367" y="103"/>
                    <a:pt x="367" y="85"/>
                  </a:cubicBezTo>
                  <a:close/>
                  <a:moveTo>
                    <a:pt x="349" y="85"/>
                  </a:moveTo>
                  <a:cubicBezTo>
                    <a:pt x="349" y="102"/>
                    <a:pt x="339" y="109"/>
                    <a:pt x="319" y="109"/>
                  </a:cubicBezTo>
                  <a:cubicBezTo>
                    <a:pt x="304" y="109"/>
                    <a:pt x="304" y="108"/>
                    <a:pt x="304" y="86"/>
                  </a:cubicBezTo>
                  <a:cubicBezTo>
                    <a:pt x="304" y="60"/>
                    <a:pt x="304" y="60"/>
                    <a:pt x="304" y="60"/>
                  </a:cubicBezTo>
                  <a:cubicBezTo>
                    <a:pt x="311" y="60"/>
                    <a:pt x="311" y="60"/>
                    <a:pt x="311" y="60"/>
                  </a:cubicBezTo>
                  <a:cubicBezTo>
                    <a:pt x="335" y="60"/>
                    <a:pt x="349" y="66"/>
                    <a:pt x="349" y="85"/>
                  </a:cubicBezTo>
                  <a:close/>
                  <a:moveTo>
                    <a:pt x="340" y="31"/>
                  </a:moveTo>
                  <a:cubicBezTo>
                    <a:pt x="340" y="47"/>
                    <a:pt x="329" y="53"/>
                    <a:pt x="311" y="53"/>
                  </a:cubicBezTo>
                  <a:cubicBezTo>
                    <a:pt x="304" y="53"/>
                    <a:pt x="304" y="53"/>
                    <a:pt x="304" y="53"/>
                  </a:cubicBezTo>
                  <a:cubicBezTo>
                    <a:pt x="304" y="12"/>
                    <a:pt x="304" y="12"/>
                    <a:pt x="304" y="12"/>
                  </a:cubicBezTo>
                  <a:cubicBezTo>
                    <a:pt x="304" y="10"/>
                    <a:pt x="304" y="10"/>
                    <a:pt x="306" y="10"/>
                  </a:cubicBezTo>
                  <a:cubicBezTo>
                    <a:pt x="308" y="10"/>
                    <a:pt x="314" y="10"/>
                    <a:pt x="316" y="10"/>
                  </a:cubicBezTo>
                  <a:cubicBezTo>
                    <a:pt x="331" y="10"/>
                    <a:pt x="340" y="16"/>
                    <a:pt x="340" y="31"/>
                  </a:cubicBezTo>
                  <a:close/>
                  <a:moveTo>
                    <a:pt x="875" y="118"/>
                  </a:moveTo>
                  <a:cubicBezTo>
                    <a:pt x="875" y="110"/>
                    <a:pt x="875" y="89"/>
                    <a:pt x="875" y="81"/>
                  </a:cubicBezTo>
                  <a:cubicBezTo>
                    <a:pt x="871" y="81"/>
                    <a:pt x="871" y="81"/>
                    <a:pt x="871" y="81"/>
                  </a:cubicBezTo>
                  <a:cubicBezTo>
                    <a:pt x="870" y="81"/>
                    <a:pt x="869" y="81"/>
                    <a:pt x="869" y="82"/>
                  </a:cubicBezTo>
                  <a:cubicBezTo>
                    <a:pt x="867" y="103"/>
                    <a:pt x="856" y="112"/>
                    <a:pt x="838" y="112"/>
                  </a:cubicBezTo>
                  <a:cubicBezTo>
                    <a:pt x="814" y="112"/>
                    <a:pt x="802" y="92"/>
                    <a:pt x="802" y="59"/>
                  </a:cubicBezTo>
                  <a:cubicBezTo>
                    <a:pt x="802" y="34"/>
                    <a:pt x="807" y="7"/>
                    <a:pt x="834" y="7"/>
                  </a:cubicBezTo>
                  <a:cubicBezTo>
                    <a:pt x="850" y="7"/>
                    <a:pt x="859" y="17"/>
                    <a:pt x="863" y="34"/>
                  </a:cubicBezTo>
                  <a:cubicBezTo>
                    <a:pt x="863" y="35"/>
                    <a:pt x="863" y="35"/>
                    <a:pt x="864" y="35"/>
                  </a:cubicBezTo>
                  <a:cubicBezTo>
                    <a:pt x="869" y="35"/>
                    <a:pt x="869" y="35"/>
                    <a:pt x="869" y="35"/>
                  </a:cubicBezTo>
                  <a:cubicBezTo>
                    <a:pt x="869" y="27"/>
                    <a:pt x="868" y="9"/>
                    <a:pt x="868" y="1"/>
                  </a:cubicBezTo>
                  <a:cubicBezTo>
                    <a:pt x="866" y="1"/>
                    <a:pt x="866" y="1"/>
                    <a:pt x="866" y="1"/>
                  </a:cubicBezTo>
                  <a:cubicBezTo>
                    <a:pt x="865" y="1"/>
                    <a:pt x="864" y="1"/>
                    <a:pt x="863" y="2"/>
                  </a:cubicBezTo>
                  <a:cubicBezTo>
                    <a:pt x="861" y="6"/>
                    <a:pt x="861" y="6"/>
                    <a:pt x="861" y="6"/>
                  </a:cubicBezTo>
                  <a:cubicBezTo>
                    <a:pt x="861" y="6"/>
                    <a:pt x="861" y="6"/>
                    <a:pt x="861" y="6"/>
                  </a:cubicBezTo>
                  <a:cubicBezTo>
                    <a:pt x="854" y="2"/>
                    <a:pt x="845" y="0"/>
                    <a:pt x="834" y="0"/>
                  </a:cubicBezTo>
                  <a:cubicBezTo>
                    <a:pt x="802" y="0"/>
                    <a:pt x="784" y="26"/>
                    <a:pt x="784" y="59"/>
                  </a:cubicBezTo>
                  <a:cubicBezTo>
                    <a:pt x="784" y="98"/>
                    <a:pt x="806" y="119"/>
                    <a:pt x="836" y="119"/>
                  </a:cubicBezTo>
                  <a:cubicBezTo>
                    <a:pt x="852" y="119"/>
                    <a:pt x="862" y="115"/>
                    <a:pt x="867" y="113"/>
                  </a:cubicBezTo>
                  <a:cubicBezTo>
                    <a:pt x="867" y="113"/>
                    <a:pt x="867" y="113"/>
                    <a:pt x="867" y="113"/>
                  </a:cubicBezTo>
                  <a:cubicBezTo>
                    <a:pt x="870" y="117"/>
                    <a:pt x="870" y="117"/>
                    <a:pt x="870" y="117"/>
                  </a:cubicBezTo>
                  <a:cubicBezTo>
                    <a:pt x="871" y="118"/>
                    <a:pt x="871" y="118"/>
                    <a:pt x="872" y="118"/>
                  </a:cubicBezTo>
                  <a:lnTo>
                    <a:pt x="875" y="118"/>
                  </a:lnTo>
                  <a:close/>
                  <a:moveTo>
                    <a:pt x="153" y="117"/>
                  </a:moveTo>
                  <a:cubicBezTo>
                    <a:pt x="147" y="117"/>
                    <a:pt x="140" y="117"/>
                    <a:pt x="135" y="117"/>
                  </a:cubicBezTo>
                  <a:cubicBezTo>
                    <a:pt x="135" y="113"/>
                    <a:pt x="135" y="113"/>
                    <a:pt x="135" y="113"/>
                  </a:cubicBezTo>
                  <a:cubicBezTo>
                    <a:pt x="135" y="112"/>
                    <a:pt x="135" y="112"/>
                    <a:pt x="136" y="112"/>
                  </a:cubicBezTo>
                  <a:cubicBezTo>
                    <a:pt x="146" y="111"/>
                    <a:pt x="146" y="110"/>
                    <a:pt x="146" y="96"/>
                  </a:cubicBezTo>
                  <a:cubicBezTo>
                    <a:pt x="146" y="79"/>
                    <a:pt x="146" y="79"/>
                    <a:pt x="146" y="79"/>
                  </a:cubicBezTo>
                  <a:cubicBezTo>
                    <a:pt x="110" y="79"/>
                    <a:pt x="110" y="79"/>
                    <a:pt x="110" y="79"/>
                  </a:cubicBezTo>
                  <a:cubicBezTo>
                    <a:pt x="110" y="96"/>
                    <a:pt x="110" y="96"/>
                    <a:pt x="110" y="96"/>
                  </a:cubicBezTo>
                  <a:cubicBezTo>
                    <a:pt x="110" y="110"/>
                    <a:pt x="110" y="111"/>
                    <a:pt x="120" y="112"/>
                  </a:cubicBezTo>
                  <a:cubicBezTo>
                    <a:pt x="121" y="112"/>
                    <a:pt x="121" y="112"/>
                    <a:pt x="121" y="113"/>
                  </a:cubicBezTo>
                  <a:cubicBezTo>
                    <a:pt x="121" y="117"/>
                    <a:pt x="121" y="117"/>
                    <a:pt x="121" y="117"/>
                  </a:cubicBezTo>
                  <a:cubicBezTo>
                    <a:pt x="116" y="117"/>
                    <a:pt x="109" y="117"/>
                    <a:pt x="103" y="117"/>
                  </a:cubicBezTo>
                  <a:cubicBezTo>
                    <a:pt x="98" y="117"/>
                    <a:pt x="91" y="117"/>
                    <a:pt x="86" y="117"/>
                  </a:cubicBezTo>
                  <a:cubicBezTo>
                    <a:pt x="86" y="113"/>
                    <a:pt x="86" y="113"/>
                    <a:pt x="86" y="113"/>
                  </a:cubicBezTo>
                  <a:cubicBezTo>
                    <a:pt x="86" y="112"/>
                    <a:pt x="86" y="112"/>
                    <a:pt x="86" y="112"/>
                  </a:cubicBezTo>
                  <a:cubicBezTo>
                    <a:pt x="96" y="111"/>
                    <a:pt x="96" y="110"/>
                    <a:pt x="96" y="96"/>
                  </a:cubicBezTo>
                  <a:cubicBezTo>
                    <a:pt x="96" y="59"/>
                    <a:pt x="96" y="59"/>
                    <a:pt x="96" y="59"/>
                  </a:cubicBezTo>
                  <a:cubicBezTo>
                    <a:pt x="96" y="45"/>
                    <a:pt x="96" y="44"/>
                    <a:pt x="86" y="43"/>
                  </a:cubicBezTo>
                  <a:cubicBezTo>
                    <a:pt x="86" y="43"/>
                    <a:pt x="86" y="43"/>
                    <a:pt x="86" y="42"/>
                  </a:cubicBezTo>
                  <a:cubicBezTo>
                    <a:pt x="86" y="38"/>
                    <a:pt x="86" y="38"/>
                    <a:pt x="86" y="38"/>
                  </a:cubicBezTo>
                  <a:cubicBezTo>
                    <a:pt x="91" y="38"/>
                    <a:pt x="98" y="38"/>
                    <a:pt x="103" y="38"/>
                  </a:cubicBezTo>
                  <a:cubicBezTo>
                    <a:pt x="109" y="38"/>
                    <a:pt x="116" y="38"/>
                    <a:pt x="121" y="38"/>
                  </a:cubicBezTo>
                  <a:cubicBezTo>
                    <a:pt x="121" y="42"/>
                    <a:pt x="121" y="42"/>
                    <a:pt x="121" y="42"/>
                  </a:cubicBezTo>
                  <a:cubicBezTo>
                    <a:pt x="121" y="43"/>
                    <a:pt x="121" y="43"/>
                    <a:pt x="120" y="43"/>
                  </a:cubicBezTo>
                  <a:cubicBezTo>
                    <a:pt x="110" y="44"/>
                    <a:pt x="110" y="45"/>
                    <a:pt x="110" y="59"/>
                  </a:cubicBezTo>
                  <a:cubicBezTo>
                    <a:pt x="110" y="73"/>
                    <a:pt x="110" y="73"/>
                    <a:pt x="110" y="73"/>
                  </a:cubicBezTo>
                  <a:cubicBezTo>
                    <a:pt x="146" y="73"/>
                    <a:pt x="146" y="73"/>
                    <a:pt x="146" y="73"/>
                  </a:cubicBezTo>
                  <a:cubicBezTo>
                    <a:pt x="146" y="59"/>
                    <a:pt x="146" y="59"/>
                    <a:pt x="146" y="59"/>
                  </a:cubicBezTo>
                  <a:cubicBezTo>
                    <a:pt x="146" y="45"/>
                    <a:pt x="146" y="44"/>
                    <a:pt x="136" y="43"/>
                  </a:cubicBezTo>
                  <a:cubicBezTo>
                    <a:pt x="135" y="43"/>
                    <a:pt x="135" y="43"/>
                    <a:pt x="135" y="42"/>
                  </a:cubicBezTo>
                  <a:cubicBezTo>
                    <a:pt x="135" y="38"/>
                    <a:pt x="135" y="38"/>
                    <a:pt x="135" y="38"/>
                  </a:cubicBezTo>
                  <a:cubicBezTo>
                    <a:pt x="140" y="38"/>
                    <a:pt x="147" y="38"/>
                    <a:pt x="153" y="38"/>
                  </a:cubicBezTo>
                  <a:cubicBezTo>
                    <a:pt x="158" y="38"/>
                    <a:pt x="165" y="38"/>
                    <a:pt x="171" y="38"/>
                  </a:cubicBezTo>
                  <a:cubicBezTo>
                    <a:pt x="171" y="42"/>
                    <a:pt x="171" y="42"/>
                    <a:pt x="171" y="42"/>
                  </a:cubicBezTo>
                  <a:cubicBezTo>
                    <a:pt x="171" y="43"/>
                    <a:pt x="170" y="43"/>
                    <a:pt x="170" y="43"/>
                  </a:cubicBezTo>
                  <a:cubicBezTo>
                    <a:pt x="160" y="44"/>
                    <a:pt x="160" y="45"/>
                    <a:pt x="160" y="59"/>
                  </a:cubicBezTo>
                  <a:cubicBezTo>
                    <a:pt x="160" y="96"/>
                    <a:pt x="160" y="96"/>
                    <a:pt x="160" y="96"/>
                  </a:cubicBezTo>
                  <a:cubicBezTo>
                    <a:pt x="160" y="110"/>
                    <a:pt x="160" y="111"/>
                    <a:pt x="170" y="112"/>
                  </a:cubicBezTo>
                  <a:cubicBezTo>
                    <a:pt x="170" y="112"/>
                    <a:pt x="171" y="112"/>
                    <a:pt x="171" y="113"/>
                  </a:cubicBezTo>
                  <a:cubicBezTo>
                    <a:pt x="171" y="117"/>
                    <a:pt x="171" y="117"/>
                    <a:pt x="171" y="117"/>
                  </a:cubicBezTo>
                  <a:cubicBezTo>
                    <a:pt x="165" y="117"/>
                    <a:pt x="158" y="117"/>
                    <a:pt x="153" y="117"/>
                  </a:cubicBezTo>
                  <a:close/>
                  <a:moveTo>
                    <a:pt x="219" y="117"/>
                  </a:moveTo>
                  <a:cubicBezTo>
                    <a:pt x="194" y="117"/>
                    <a:pt x="194" y="117"/>
                    <a:pt x="194" y="117"/>
                  </a:cubicBezTo>
                  <a:cubicBezTo>
                    <a:pt x="189" y="117"/>
                    <a:pt x="182" y="117"/>
                    <a:pt x="177" y="117"/>
                  </a:cubicBezTo>
                  <a:cubicBezTo>
                    <a:pt x="177" y="113"/>
                    <a:pt x="177" y="113"/>
                    <a:pt x="177" y="113"/>
                  </a:cubicBezTo>
                  <a:cubicBezTo>
                    <a:pt x="177" y="112"/>
                    <a:pt x="177" y="112"/>
                    <a:pt x="178" y="112"/>
                  </a:cubicBezTo>
                  <a:cubicBezTo>
                    <a:pt x="188" y="111"/>
                    <a:pt x="188" y="110"/>
                    <a:pt x="188" y="96"/>
                  </a:cubicBezTo>
                  <a:cubicBezTo>
                    <a:pt x="188" y="59"/>
                    <a:pt x="188" y="59"/>
                    <a:pt x="188" y="59"/>
                  </a:cubicBezTo>
                  <a:cubicBezTo>
                    <a:pt x="188" y="45"/>
                    <a:pt x="188" y="44"/>
                    <a:pt x="178" y="43"/>
                  </a:cubicBezTo>
                  <a:cubicBezTo>
                    <a:pt x="177" y="43"/>
                    <a:pt x="177" y="43"/>
                    <a:pt x="177" y="42"/>
                  </a:cubicBezTo>
                  <a:cubicBezTo>
                    <a:pt x="177" y="38"/>
                    <a:pt x="177" y="38"/>
                    <a:pt x="177" y="38"/>
                  </a:cubicBezTo>
                  <a:cubicBezTo>
                    <a:pt x="182" y="38"/>
                    <a:pt x="189" y="38"/>
                    <a:pt x="194" y="38"/>
                  </a:cubicBezTo>
                  <a:cubicBezTo>
                    <a:pt x="213" y="38"/>
                    <a:pt x="213" y="38"/>
                    <a:pt x="213" y="38"/>
                  </a:cubicBezTo>
                  <a:cubicBezTo>
                    <a:pt x="223" y="38"/>
                    <a:pt x="229" y="38"/>
                    <a:pt x="234" y="38"/>
                  </a:cubicBezTo>
                  <a:cubicBezTo>
                    <a:pt x="234" y="44"/>
                    <a:pt x="234" y="54"/>
                    <a:pt x="235" y="59"/>
                  </a:cubicBezTo>
                  <a:cubicBezTo>
                    <a:pt x="231" y="59"/>
                    <a:pt x="231" y="59"/>
                    <a:pt x="231" y="59"/>
                  </a:cubicBezTo>
                  <a:cubicBezTo>
                    <a:pt x="230" y="59"/>
                    <a:pt x="230" y="59"/>
                    <a:pt x="230" y="58"/>
                  </a:cubicBezTo>
                  <a:cubicBezTo>
                    <a:pt x="228" y="46"/>
                    <a:pt x="223" y="44"/>
                    <a:pt x="213" y="44"/>
                  </a:cubicBezTo>
                  <a:cubicBezTo>
                    <a:pt x="202" y="44"/>
                    <a:pt x="202" y="44"/>
                    <a:pt x="202" y="44"/>
                  </a:cubicBezTo>
                  <a:cubicBezTo>
                    <a:pt x="201" y="44"/>
                    <a:pt x="201" y="45"/>
                    <a:pt x="201" y="46"/>
                  </a:cubicBezTo>
                  <a:cubicBezTo>
                    <a:pt x="201" y="73"/>
                    <a:pt x="201" y="73"/>
                    <a:pt x="201" y="73"/>
                  </a:cubicBezTo>
                  <a:cubicBezTo>
                    <a:pt x="202" y="73"/>
                    <a:pt x="202" y="73"/>
                    <a:pt x="202" y="73"/>
                  </a:cubicBezTo>
                  <a:cubicBezTo>
                    <a:pt x="212" y="73"/>
                    <a:pt x="215" y="71"/>
                    <a:pt x="216" y="63"/>
                  </a:cubicBezTo>
                  <a:cubicBezTo>
                    <a:pt x="216" y="62"/>
                    <a:pt x="216" y="62"/>
                    <a:pt x="217" y="62"/>
                  </a:cubicBezTo>
                  <a:cubicBezTo>
                    <a:pt x="221" y="62"/>
                    <a:pt x="221" y="62"/>
                    <a:pt x="221" y="62"/>
                  </a:cubicBezTo>
                  <a:cubicBezTo>
                    <a:pt x="221" y="67"/>
                    <a:pt x="220" y="71"/>
                    <a:pt x="220" y="76"/>
                  </a:cubicBezTo>
                  <a:cubicBezTo>
                    <a:pt x="220" y="82"/>
                    <a:pt x="221" y="85"/>
                    <a:pt x="221" y="90"/>
                  </a:cubicBezTo>
                  <a:cubicBezTo>
                    <a:pt x="217" y="90"/>
                    <a:pt x="217" y="90"/>
                    <a:pt x="217" y="90"/>
                  </a:cubicBezTo>
                  <a:cubicBezTo>
                    <a:pt x="216" y="90"/>
                    <a:pt x="216" y="90"/>
                    <a:pt x="216" y="89"/>
                  </a:cubicBezTo>
                  <a:cubicBezTo>
                    <a:pt x="215" y="79"/>
                    <a:pt x="212" y="78"/>
                    <a:pt x="202" y="78"/>
                  </a:cubicBezTo>
                  <a:cubicBezTo>
                    <a:pt x="201" y="78"/>
                    <a:pt x="201" y="78"/>
                    <a:pt x="201" y="78"/>
                  </a:cubicBezTo>
                  <a:cubicBezTo>
                    <a:pt x="201" y="95"/>
                    <a:pt x="201" y="95"/>
                    <a:pt x="201" y="95"/>
                  </a:cubicBezTo>
                  <a:cubicBezTo>
                    <a:pt x="201" y="109"/>
                    <a:pt x="201" y="110"/>
                    <a:pt x="212" y="110"/>
                  </a:cubicBezTo>
                  <a:cubicBezTo>
                    <a:pt x="219" y="110"/>
                    <a:pt x="219" y="110"/>
                    <a:pt x="219" y="110"/>
                  </a:cubicBezTo>
                  <a:cubicBezTo>
                    <a:pt x="229" y="110"/>
                    <a:pt x="234" y="108"/>
                    <a:pt x="236" y="94"/>
                  </a:cubicBezTo>
                  <a:cubicBezTo>
                    <a:pt x="236" y="94"/>
                    <a:pt x="236" y="93"/>
                    <a:pt x="237" y="93"/>
                  </a:cubicBezTo>
                  <a:cubicBezTo>
                    <a:pt x="241" y="93"/>
                    <a:pt x="241" y="93"/>
                    <a:pt x="241" y="93"/>
                  </a:cubicBezTo>
                  <a:cubicBezTo>
                    <a:pt x="241" y="99"/>
                    <a:pt x="240" y="111"/>
                    <a:pt x="240" y="117"/>
                  </a:cubicBezTo>
                  <a:cubicBezTo>
                    <a:pt x="235" y="117"/>
                    <a:pt x="229" y="117"/>
                    <a:pt x="219" y="117"/>
                  </a:cubicBezTo>
                  <a:close/>
                  <a:moveTo>
                    <a:pt x="412" y="119"/>
                  </a:moveTo>
                  <a:cubicBezTo>
                    <a:pt x="391" y="119"/>
                    <a:pt x="374" y="103"/>
                    <a:pt x="374" y="79"/>
                  </a:cubicBezTo>
                  <a:cubicBezTo>
                    <a:pt x="374" y="50"/>
                    <a:pt x="392" y="36"/>
                    <a:pt x="412" y="36"/>
                  </a:cubicBezTo>
                  <a:cubicBezTo>
                    <a:pt x="434" y="36"/>
                    <a:pt x="451" y="52"/>
                    <a:pt x="451" y="76"/>
                  </a:cubicBezTo>
                  <a:cubicBezTo>
                    <a:pt x="451" y="105"/>
                    <a:pt x="433" y="119"/>
                    <a:pt x="412" y="119"/>
                  </a:cubicBezTo>
                  <a:close/>
                  <a:moveTo>
                    <a:pt x="411" y="43"/>
                  </a:moveTo>
                  <a:cubicBezTo>
                    <a:pt x="397" y="43"/>
                    <a:pt x="390" y="54"/>
                    <a:pt x="390" y="78"/>
                  </a:cubicBezTo>
                  <a:cubicBezTo>
                    <a:pt x="390" y="103"/>
                    <a:pt x="399" y="112"/>
                    <a:pt x="413" y="112"/>
                  </a:cubicBezTo>
                  <a:cubicBezTo>
                    <a:pt x="428" y="112"/>
                    <a:pt x="435" y="101"/>
                    <a:pt x="435" y="77"/>
                  </a:cubicBezTo>
                  <a:cubicBezTo>
                    <a:pt x="435" y="52"/>
                    <a:pt x="426" y="43"/>
                    <a:pt x="411" y="43"/>
                  </a:cubicBezTo>
                  <a:close/>
                  <a:moveTo>
                    <a:pt x="463" y="115"/>
                  </a:moveTo>
                  <a:cubicBezTo>
                    <a:pt x="461" y="117"/>
                    <a:pt x="461" y="117"/>
                    <a:pt x="461" y="117"/>
                  </a:cubicBezTo>
                  <a:cubicBezTo>
                    <a:pt x="461" y="118"/>
                    <a:pt x="460" y="118"/>
                    <a:pt x="459" y="118"/>
                  </a:cubicBezTo>
                  <a:cubicBezTo>
                    <a:pt x="457" y="118"/>
                    <a:pt x="457" y="118"/>
                    <a:pt x="457" y="118"/>
                  </a:cubicBezTo>
                  <a:cubicBezTo>
                    <a:pt x="457" y="113"/>
                    <a:pt x="457" y="98"/>
                    <a:pt x="457" y="93"/>
                  </a:cubicBezTo>
                  <a:cubicBezTo>
                    <a:pt x="461" y="93"/>
                    <a:pt x="461" y="93"/>
                    <a:pt x="461" y="93"/>
                  </a:cubicBezTo>
                  <a:cubicBezTo>
                    <a:pt x="461" y="93"/>
                    <a:pt x="462" y="93"/>
                    <a:pt x="462" y="93"/>
                  </a:cubicBezTo>
                  <a:cubicBezTo>
                    <a:pt x="464" y="106"/>
                    <a:pt x="470" y="112"/>
                    <a:pt x="481" y="112"/>
                  </a:cubicBezTo>
                  <a:cubicBezTo>
                    <a:pt x="491" y="112"/>
                    <a:pt x="497" y="108"/>
                    <a:pt x="497" y="101"/>
                  </a:cubicBezTo>
                  <a:cubicBezTo>
                    <a:pt x="497" y="79"/>
                    <a:pt x="457" y="86"/>
                    <a:pt x="457" y="59"/>
                  </a:cubicBezTo>
                  <a:cubicBezTo>
                    <a:pt x="457" y="45"/>
                    <a:pt x="467" y="36"/>
                    <a:pt x="481" y="36"/>
                  </a:cubicBezTo>
                  <a:cubicBezTo>
                    <a:pt x="486" y="36"/>
                    <a:pt x="493" y="37"/>
                    <a:pt x="497" y="41"/>
                  </a:cubicBezTo>
                  <a:cubicBezTo>
                    <a:pt x="499" y="39"/>
                    <a:pt x="499" y="39"/>
                    <a:pt x="499" y="39"/>
                  </a:cubicBezTo>
                  <a:cubicBezTo>
                    <a:pt x="499" y="38"/>
                    <a:pt x="499" y="38"/>
                    <a:pt x="500" y="38"/>
                  </a:cubicBezTo>
                  <a:cubicBezTo>
                    <a:pt x="503" y="38"/>
                    <a:pt x="503" y="38"/>
                    <a:pt x="503" y="38"/>
                  </a:cubicBezTo>
                  <a:cubicBezTo>
                    <a:pt x="503" y="43"/>
                    <a:pt x="503" y="56"/>
                    <a:pt x="503" y="61"/>
                  </a:cubicBezTo>
                  <a:cubicBezTo>
                    <a:pt x="499" y="61"/>
                    <a:pt x="499" y="61"/>
                    <a:pt x="499" y="61"/>
                  </a:cubicBezTo>
                  <a:cubicBezTo>
                    <a:pt x="499" y="61"/>
                    <a:pt x="499" y="61"/>
                    <a:pt x="498" y="61"/>
                  </a:cubicBezTo>
                  <a:cubicBezTo>
                    <a:pt x="496" y="50"/>
                    <a:pt x="491" y="43"/>
                    <a:pt x="481" y="43"/>
                  </a:cubicBezTo>
                  <a:cubicBezTo>
                    <a:pt x="472" y="43"/>
                    <a:pt x="468" y="48"/>
                    <a:pt x="468" y="53"/>
                  </a:cubicBezTo>
                  <a:cubicBezTo>
                    <a:pt x="468" y="74"/>
                    <a:pt x="509" y="67"/>
                    <a:pt x="509" y="94"/>
                  </a:cubicBezTo>
                  <a:cubicBezTo>
                    <a:pt x="509" y="111"/>
                    <a:pt x="495" y="119"/>
                    <a:pt x="481" y="119"/>
                  </a:cubicBezTo>
                  <a:cubicBezTo>
                    <a:pt x="473" y="119"/>
                    <a:pt x="467" y="117"/>
                    <a:pt x="463" y="115"/>
                  </a:cubicBezTo>
                  <a:close/>
                  <a:moveTo>
                    <a:pt x="547" y="117"/>
                  </a:moveTo>
                  <a:cubicBezTo>
                    <a:pt x="541" y="117"/>
                    <a:pt x="534" y="117"/>
                    <a:pt x="529" y="117"/>
                  </a:cubicBezTo>
                  <a:cubicBezTo>
                    <a:pt x="529" y="113"/>
                    <a:pt x="529" y="113"/>
                    <a:pt x="529" y="113"/>
                  </a:cubicBezTo>
                  <a:cubicBezTo>
                    <a:pt x="529" y="112"/>
                    <a:pt x="529" y="112"/>
                    <a:pt x="530" y="112"/>
                  </a:cubicBezTo>
                  <a:cubicBezTo>
                    <a:pt x="540" y="111"/>
                    <a:pt x="540" y="110"/>
                    <a:pt x="540" y="96"/>
                  </a:cubicBezTo>
                  <a:cubicBezTo>
                    <a:pt x="540" y="46"/>
                    <a:pt x="540" y="46"/>
                    <a:pt x="540" y="46"/>
                  </a:cubicBezTo>
                  <a:cubicBezTo>
                    <a:pt x="540" y="45"/>
                    <a:pt x="540" y="44"/>
                    <a:pt x="539" y="44"/>
                  </a:cubicBezTo>
                  <a:cubicBezTo>
                    <a:pt x="532" y="44"/>
                    <a:pt x="532" y="44"/>
                    <a:pt x="532" y="44"/>
                  </a:cubicBezTo>
                  <a:cubicBezTo>
                    <a:pt x="522" y="44"/>
                    <a:pt x="517" y="46"/>
                    <a:pt x="515" y="61"/>
                  </a:cubicBezTo>
                  <a:cubicBezTo>
                    <a:pt x="515" y="61"/>
                    <a:pt x="515" y="61"/>
                    <a:pt x="514" y="61"/>
                  </a:cubicBezTo>
                  <a:cubicBezTo>
                    <a:pt x="511" y="61"/>
                    <a:pt x="511" y="61"/>
                    <a:pt x="511" y="61"/>
                  </a:cubicBezTo>
                  <a:cubicBezTo>
                    <a:pt x="511" y="56"/>
                    <a:pt x="511" y="44"/>
                    <a:pt x="511" y="38"/>
                  </a:cubicBezTo>
                  <a:cubicBezTo>
                    <a:pt x="516" y="38"/>
                    <a:pt x="522" y="38"/>
                    <a:pt x="532" y="38"/>
                  </a:cubicBezTo>
                  <a:cubicBezTo>
                    <a:pt x="561" y="38"/>
                    <a:pt x="561" y="38"/>
                    <a:pt x="561" y="38"/>
                  </a:cubicBezTo>
                  <a:cubicBezTo>
                    <a:pt x="571" y="38"/>
                    <a:pt x="577" y="38"/>
                    <a:pt x="582" y="38"/>
                  </a:cubicBezTo>
                  <a:cubicBezTo>
                    <a:pt x="582" y="44"/>
                    <a:pt x="583" y="56"/>
                    <a:pt x="583" y="61"/>
                  </a:cubicBezTo>
                  <a:cubicBezTo>
                    <a:pt x="579" y="61"/>
                    <a:pt x="579" y="61"/>
                    <a:pt x="579" y="61"/>
                  </a:cubicBezTo>
                  <a:cubicBezTo>
                    <a:pt x="578" y="61"/>
                    <a:pt x="578" y="61"/>
                    <a:pt x="578" y="61"/>
                  </a:cubicBezTo>
                  <a:cubicBezTo>
                    <a:pt x="576" y="46"/>
                    <a:pt x="571" y="44"/>
                    <a:pt x="561" y="44"/>
                  </a:cubicBezTo>
                  <a:cubicBezTo>
                    <a:pt x="555" y="44"/>
                    <a:pt x="555" y="44"/>
                    <a:pt x="555" y="44"/>
                  </a:cubicBezTo>
                  <a:cubicBezTo>
                    <a:pt x="554" y="44"/>
                    <a:pt x="554" y="45"/>
                    <a:pt x="554" y="46"/>
                  </a:cubicBezTo>
                  <a:cubicBezTo>
                    <a:pt x="554" y="96"/>
                    <a:pt x="554" y="96"/>
                    <a:pt x="554" y="96"/>
                  </a:cubicBezTo>
                  <a:cubicBezTo>
                    <a:pt x="554" y="110"/>
                    <a:pt x="554" y="111"/>
                    <a:pt x="563" y="112"/>
                  </a:cubicBezTo>
                  <a:cubicBezTo>
                    <a:pt x="564" y="112"/>
                    <a:pt x="564" y="112"/>
                    <a:pt x="564" y="113"/>
                  </a:cubicBezTo>
                  <a:cubicBezTo>
                    <a:pt x="564" y="117"/>
                    <a:pt x="564" y="117"/>
                    <a:pt x="564" y="117"/>
                  </a:cubicBezTo>
                  <a:cubicBezTo>
                    <a:pt x="559" y="117"/>
                    <a:pt x="552" y="117"/>
                    <a:pt x="547" y="117"/>
                  </a:cubicBezTo>
                  <a:close/>
                  <a:moveTo>
                    <a:pt x="622" y="119"/>
                  </a:moveTo>
                  <a:cubicBezTo>
                    <a:pt x="601" y="119"/>
                    <a:pt x="584" y="103"/>
                    <a:pt x="584" y="79"/>
                  </a:cubicBezTo>
                  <a:cubicBezTo>
                    <a:pt x="584" y="50"/>
                    <a:pt x="602" y="36"/>
                    <a:pt x="622" y="36"/>
                  </a:cubicBezTo>
                  <a:cubicBezTo>
                    <a:pt x="644" y="36"/>
                    <a:pt x="660" y="52"/>
                    <a:pt x="660" y="76"/>
                  </a:cubicBezTo>
                  <a:cubicBezTo>
                    <a:pt x="660" y="105"/>
                    <a:pt x="643" y="119"/>
                    <a:pt x="622" y="119"/>
                  </a:cubicBezTo>
                  <a:close/>
                  <a:moveTo>
                    <a:pt x="621" y="43"/>
                  </a:moveTo>
                  <a:cubicBezTo>
                    <a:pt x="607" y="43"/>
                    <a:pt x="600" y="54"/>
                    <a:pt x="600" y="78"/>
                  </a:cubicBezTo>
                  <a:cubicBezTo>
                    <a:pt x="600" y="103"/>
                    <a:pt x="609" y="112"/>
                    <a:pt x="623" y="112"/>
                  </a:cubicBezTo>
                  <a:cubicBezTo>
                    <a:pt x="638" y="112"/>
                    <a:pt x="645" y="101"/>
                    <a:pt x="645" y="77"/>
                  </a:cubicBezTo>
                  <a:cubicBezTo>
                    <a:pt x="645" y="52"/>
                    <a:pt x="635" y="43"/>
                    <a:pt x="621" y="43"/>
                  </a:cubicBezTo>
                  <a:close/>
                  <a:moveTo>
                    <a:pt x="729" y="119"/>
                  </a:moveTo>
                  <a:cubicBezTo>
                    <a:pt x="727" y="115"/>
                    <a:pt x="724" y="111"/>
                    <a:pt x="721" y="107"/>
                  </a:cubicBezTo>
                  <a:cubicBezTo>
                    <a:pt x="684" y="53"/>
                    <a:pt x="684" y="53"/>
                    <a:pt x="684" y="53"/>
                  </a:cubicBezTo>
                  <a:cubicBezTo>
                    <a:pt x="683" y="53"/>
                    <a:pt x="683" y="53"/>
                    <a:pt x="683" y="53"/>
                  </a:cubicBezTo>
                  <a:cubicBezTo>
                    <a:pt x="683" y="84"/>
                    <a:pt x="683" y="84"/>
                    <a:pt x="683" y="84"/>
                  </a:cubicBezTo>
                  <a:cubicBezTo>
                    <a:pt x="683" y="108"/>
                    <a:pt x="683" y="111"/>
                    <a:pt x="697" y="112"/>
                  </a:cubicBezTo>
                  <a:cubicBezTo>
                    <a:pt x="698" y="112"/>
                    <a:pt x="698" y="112"/>
                    <a:pt x="698" y="113"/>
                  </a:cubicBezTo>
                  <a:cubicBezTo>
                    <a:pt x="698" y="117"/>
                    <a:pt x="698" y="117"/>
                    <a:pt x="698" y="117"/>
                  </a:cubicBezTo>
                  <a:cubicBezTo>
                    <a:pt x="693" y="117"/>
                    <a:pt x="685" y="117"/>
                    <a:pt x="679" y="117"/>
                  </a:cubicBezTo>
                  <a:cubicBezTo>
                    <a:pt x="673" y="117"/>
                    <a:pt x="669" y="117"/>
                    <a:pt x="664" y="117"/>
                  </a:cubicBezTo>
                  <a:cubicBezTo>
                    <a:pt x="664" y="113"/>
                    <a:pt x="664" y="113"/>
                    <a:pt x="664" y="113"/>
                  </a:cubicBezTo>
                  <a:cubicBezTo>
                    <a:pt x="664" y="112"/>
                    <a:pt x="664" y="112"/>
                    <a:pt x="665" y="112"/>
                  </a:cubicBezTo>
                  <a:cubicBezTo>
                    <a:pt x="675" y="111"/>
                    <a:pt x="675" y="108"/>
                    <a:pt x="675" y="84"/>
                  </a:cubicBezTo>
                  <a:cubicBezTo>
                    <a:pt x="675" y="59"/>
                    <a:pt x="675" y="59"/>
                    <a:pt x="675" y="59"/>
                  </a:cubicBezTo>
                  <a:cubicBezTo>
                    <a:pt x="675" y="45"/>
                    <a:pt x="675" y="44"/>
                    <a:pt x="665" y="43"/>
                  </a:cubicBezTo>
                  <a:cubicBezTo>
                    <a:pt x="664" y="43"/>
                    <a:pt x="664" y="43"/>
                    <a:pt x="664" y="42"/>
                  </a:cubicBezTo>
                  <a:cubicBezTo>
                    <a:pt x="664" y="38"/>
                    <a:pt x="664" y="38"/>
                    <a:pt x="664" y="38"/>
                  </a:cubicBezTo>
                  <a:cubicBezTo>
                    <a:pt x="668" y="38"/>
                    <a:pt x="675" y="38"/>
                    <a:pt x="678" y="38"/>
                  </a:cubicBezTo>
                  <a:cubicBezTo>
                    <a:pt x="683" y="38"/>
                    <a:pt x="687" y="38"/>
                    <a:pt x="690" y="38"/>
                  </a:cubicBezTo>
                  <a:cubicBezTo>
                    <a:pt x="730" y="96"/>
                    <a:pt x="730" y="96"/>
                    <a:pt x="730" y="96"/>
                  </a:cubicBezTo>
                  <a:cubicBezTo>
                    <a:pt x="731" y="96"/>
                    <a:pt x="731" y="96"/>
                    <a:pt x="731" y="96"/>
                  </a:cubicBezTo>
                  <a:cubicBezTo>
                    <a:pt x="731" y="71"/>
                    <a:pt x="731" y="71"/>
                    <a:pt x="731" y="71"/>
                  </a:cubicBezTo>
                  <a:cubicBezTo>
                    <a:pt x="731" y="47"/>
                    <a:pt x="730" y="44"/>
                    <a:pt x="716" y="43"/>
                  </a:cubicBezTo>
                  <a:cubicBezTo>
                    <a:pt x="716" y="43"/>
                    <a:pt x="716" y="43"/>
                    <a:pt x="716" y="42"/>
                  </a:cubicBezTo>
                  <a:cubicBezTo>
                    <a:pt x="716" y="38"/>
                    <a:pt x="716" y="38"/>
                    <a:pt x="716" y="38"/>
                  </a:cubicBezTo>
                  <a:cubicBezTo>
                    <a:pt x="721" y="38"/>
                    <a:pt x="729" y="38"/>
                    <a:pt x="735" y="38"/>
                  </a:cubicBezTo>
                  <a:cubicBezTo>
                    <a:pt x="740" y="38"/>
                    <a:pt x="744" y="38"/>
                    <a:pt x="750" y="38"/>
                  </a:cubicBezTo>
                  <a:cubicBezTo>
                    <a:pt x="750" y="42"/>
                    <a:pt x="750" y="42"/>
                    <a:pt x="750" y="42"/>
                  </a:cubicBezTo>
                  <a:cubicBezTo>
                    <a:pt x="750" y="43"/>
                    <a:pt x="750" y="43"/>
                    <a:pt x="749" y="43"/>
                  </a:cubicBezTo>
                  <a:cubicBezTo>
                    <a:pt x="739" y="44"/>
                    <a:pt x="739" y="47"/>
                    <a:pt x="739" y="71"/>
                  </a:cubicBezTo>
                  <a:cubicBezTo>
                    <a:pt x="739" y="119"/>
                    <a:pt x="739" y="119"/>
                    <a:pt x="739" y="119"/>
                  </a:cubicBezTo>
                  <a:lnTo>
                    <a:pt x="729" y="119"/>
                  </a:lnTo>
                  <a:close/>
                  <a:moveTo>
                    <a:pt x="921" y="119"/>
                  </a:moveTo>
                  <a:cubicBezTo>
                    <a:pt x="900" y="119"/>
                    <a:pt x="883" y="103"/>
                    <a:pt x="883" y="79"/>
                  </a:cubicBezTo>
                  <a:cubicBezTo>
                    <a:pt x="883" y="50"/>
                    <a:pt x="901" y="36"/>
                    <a:pt x="921" y="36"/>
                  </a:cubicBezTo>
                  <a:cubicBezTo>
                    <a:pt x="943" y="36"/>
                    <a:pt x="960" y="52"/>
                    <a:pt x="960" y="76"/>
                  </a:cubicBezTo>
                  <a:cubicBezTo>
                    <a:pt x="960" y="105"/>
                    <a:pt x="942" y="119"/>
                    <a:pt x="921" y="119"/>
                  </a:cubicBezTo>
                  <a:close/>
                  <a:moveTo>
                    <a:pt x="920" y="43"/>
                  </a:moveTo>
                  <a:cubicBezTo>
                    <a:pt x="906" y="43"/>
                    <a:pt x="899" y="54"/>
                    <a:pt x="899" y="78"/>
                  </a:cubicBezTo>
                  <a:cubicBezTo>
                    <a:pt x="899" y="103"/>
                    <a:pt x="908" y="112"/>
                    <a:pt x="922" y="112"/>
                  </a:cubicBezTo>
                  <a:cubicBezTo>
                    <a:pt x="937" y="112"/>
                    <a:pt x="944" y="101"/>
                    <a:pt x="944" y="77"/>
                  </a:cubicBezTo>
                  <a:cubicBezTo>
                    <a:pt x="944" y="52"/>
                    <a:pt x="935" y="43"/>
                    <a:pt x="920" y="43"/>
                  </a:cubicBezTo>
                  <a:close/>
                  <a:moveTo>
                    <a:pt x="1029" y="119"/>
                  </a:moveTo>
                  <a:cubicBezTo>
                    <a:pt x="1026" y="115"/>
                    <a:pt x="1023" y="111"/>
                    <a:pt x="1020" y="107"/>
                  </a:cubicBezTo>
                  <a:cubicBezTo>
                    <a:pt x="983" y="53"/>
                    <a:pt x="983" y="53"/>
                    <a:pt x="983" y="53"/>
                  </a:cubicBezTo>
                  <a:cubicBezTo>
                    <a:pt x="982" y="53"/>
                    <a:pt x="982" y="53"/>
                    <a:pt x="982" y="53"/>
                  </a:cubicBezTo>
                  <a:cubicBezTo>
                    <a:pt x="982" y="84"/>
                    <a:pt x="982" y="84"/>
                    <a:pt x="982" y="84"/>
                  </a:cubicBezTo>
                  <a:cubicBezTo>
                    <a:pt x="982" y="108"/>
                    <a:pt x="983" y="111"/>
                    <a:pt x="996" y="112"/>
                  </a:cubicBezTo>
                  <a:cubicBezTo>
                    <a:pt x="997" y="112"/>
                    <a:pt x="997" y="112"/>
                    <a:pt x="997" y="113"/>
                  </a:cubicBezTo>
                  <a:cubicBezTo>
                    <a:pt x="997" y="117"/>
                    <a:pt x="997" y="117"/>
                    <a:pt x="997" y="117"/>
                  </a:cubicBezTo>
                  <a:cubicBezTo>
                    <a:pt x="992" y="117"/>
                    <a:pt x="984" y="117"/>
                    <a:pt x="978" y="117"/>
                  </a:cubicBezTo>
                  <a:cubicBezTo>
                    <a:pt x="972" y="117"/>
                    <a:pt x="969" y="117"/>
                    <a:pt x="963" y="117"/>
                  </a:cubicBezTo>
                  <a:cubicBezTo>
                    <a:pt x="963" y="113"/>
                    <a:pt x="963" y="113"/>
                    <a:pt x="963" y="113"/>
                  </a:cubicBezTo>
                  <a:cubicBezTo>
                    <a:pt x="963" y="112"/>
                    <a:pt x="963" y="112"/>
                    <a:pt x="964" y="112"/>
                  </a:cubicBezTo>
                  <a:cubicBezTo>
                    <a:pt x="974" y="111"/>
                    <a:pt x="974" y="108"/>
                    <a:pt x="974" y="84"/>
                  </a:cubicBezTo>
                  <a:cubicBezTo>
                    <a:pt x="974" y="59"/>
                    <a:pt x="974" y="59"/>
                    <a:pt x="974" y="59"/>
                  </a:cubicBezTo>
                  <a:cubicBezTo>
                    <a:pt x="974" y="45"/>
                    <a:pt x="974" y="44"/>
                    <a:pt x="964" y="43"/>
                  </a:cubicBezTo>
                  <a:cubicBezTo>
                    <a:pt x="963" y="43"/>
                    <a:pt x="963" y="43"/>
                    <a:pt x="963" y="42"/>
                  </a:cubicBezTo>
                  <a:cubicBezTo>
                    <a:pt x="963" y="38"/>
                    <a:pt x="963" y="38"/>
                    <a:pt x="963" y="38"/>
                  </a:cubicBezTo>
                  <a:cubicBezTo>
                    <a:pt x="968" y="38"/>
                    <a:pt x="974" y="38"/>
                    <a:pt x="977" y="38"/>
                  </a:cubicBezTo>
                  <a:cubicBezTo>
                    <a:pt x="982" y="38"/>
                    <a:pt x="986" y="38"/>
                    <a:pt x="989" y="38"/>
                  </a:cubicBezTo>
                  <a:cubicBezTo>
                    <a:pt x="1029" y="96"/>
                    <a:pt x="1029" y="96"/>
                    <a:pt x="1029" y="96"/>
                  </a:cubicBezTo>
                  <a:cubicBezTo>
                    <a:pt x="1030" y="96"/>
                    <a:pt x="1030" y="96"/>
                    <a:pt x="1030" y="96"/>
                  </a:cubicBezTo>
                  <a:cubicBezTo>
                    <a:pt x="1030" y="71"/>
                    <a:pt x="1030" y="71"/>
                    <a:pt x="1030" y="71"/>
                  </a:cubicBezTo>
                  <a:cubicBezTo>
                    <a:pt x="1030" y="47"/>
                    <a:pt x="1030" y="44"/>
                    <a:pt x="1016" y="43"/>
                  </a:cubicBezTo>
                  <a:cubicBezTo>
                    <a:pt x="1015" y="43"/>
                    <a:pt x="1015" y="43"/>
                    <a:pt x="1015" y="42"/>
                  </a:cubicBezTo>
                  <a:cubicBezTo>
                    <a:pt x="1015" y="38"/>
                    <a:pt x="1015" y="38"/>
                    <a:pt x="1015" y="38"/>
                  </a:cubicBezTo>
                  <a:cubicBezTo>
                    <a:pt x="1020" y="38"/>
                    <a:pt x="1028" y="38"/>
                    <a:pt x="1034" y="38"/>
                  </a:cubicBezTo>
                  <a:cubicBezTo>
                    <a:pt x="1040" y="38"/>
                    <a:pt x="1044" y="38"/>
                    <a:pt x="1049" y="38"/>
                  </a:cubicBezTo>
                  <a:cubicBezTo>
                    <a:pt x="1049" y="42"/>
                    <a:pt x="1049" y="42"/>
                    <a:pt x="1049" y="42"/>
                  </a:cubicBezTo>
                  <a:cubicBezTo>
                    <a:pt x="1049" y="43"/>
                    <a:pt x="1049" y="43"/>
                    <a:pt x="1048" y="43"/>
                  </a:cubicBezTo>
                  <a:cubicBezTo>
                    <a:pt x="1038" y="44"/>
                    <a:pt x="1038" y="47"/>
                    <a:pt x="1038" y="71"/>
                  </a:cubicBezTo>
                  <a:cubicBezTo>
                    <a:pt x="1038" y="119"/>
                    <a:pt x="1038" y="119"/>
                    <a:pt x="1038" y="119"/>
                  </a:cubicBezTo>
                  <a:lnTo>
                    <a:pt x="1029" y="119"/>
                  </a:lnTo>
                  <a:close/>
                  <a:moveTo>
                    <a:pt x="1062" y="115"/>
                  </a:moveTo>
                  <a:cubicBezTo>
                    <a:pt x="1060" y="117"/>
                    <a:pt x="1060" y="117"/>
                    <a:pt x="1060" y="117"/>
                  </a:cubicBezTo>
                  <a:cubicBezTo>
                    <a:pt x="1060" y="118"/>
                    <a:pt x="1059" y="118"/>
                    <a:pt x="1059" y="118"/>
                  </a:cubicBezTo>
                  <a:cubicBezTo>
                    <a:pt x="1056" y="118"/>
                    <a:pt x="1056" y="118"/>
                    <a:pt x="1056" y="118"/>
                  </a:cubicBezTo>
                  <a:cubicBezTo>
                    <a:pt x="1056" y="113"/>
                    <a:pt x="1056" y="98"/>
                    <a:pt x="1056" y="93"/>
                  </a:cubicBezTo>
                  <a:cubicBezTo>
                    <a:pt x="1060" y="93"/>
                    <a:pt x="1060" y="93"/>
                    <a:pt x="1060" y="93"/>
                  </a:cubicBezTo>
                  <a:cubicBezTo>
                    <a:pt x="1060" y="93"/>
                    <a:pt x="1061" y="93"/>
                    <a:pt x="1061" y="93"/>
                  </a:cubicBezTo>
                  <a:cubicBezTo>
                    <a:pt x="1063" y="106"/>
                    <a:pt x="1069" y="112"/>
                    <a:pt x="1080" y="112"/>
                  </a:cubicBezTo>
                  <a:cubicBezTo>
                    <a:pt x="1090" y="112"/>
                    <a:pt x="1097" y="108"/>
                    <a:pt x="1097" y="101"/>
                  </a:cubicBezTo>
                  <a:cubicBezTo>
                    <a:pt x="1097" y="79"/>
                    <a:pt x="1056" y="86"/>
                    <a:pt x="1056" y="59"/>
                  </a:cubicBezTo>
                  <a:cubicBezTo>
                    <a:pt x="1056" y="45"/>
                    <a:pt x="1066" y="36"/>
                    <a:pt x="1080" y="36"/>
                  </a:cubicBezTo>
                  <a:cubicBezTo>
                    <a:pt x="1085" y="36"/>
                    <a:pt x="1091" y="37"/>
                    <a:pt x="1096" y="40"/>
                  </a:cubicBezTo>
                  <a:cubicBezTo>
                    <a:pt x="1098" y="38"/>
                    <a:pt x="1098" y="38"/>
                    <a:pt x="1098" y="38"/>
                  </a:cubicBezTo>
                  <a:cubicBezTo>
                    <a:pt x="1098" y="37"/>
                    <a:pt x="1099" y="37"/>
                    <a:pt x="1100" y="37"/>
                  </a:cubicBezTo>
                  <a:cubicBezTo>
                    <a:pt x="1102" y="37"/>
                    <a:pt x="1102" y="37"/>
                    <a:pt x="1102" y="37"/>
                  </a:cubicBezTo>
                  <a:cubicBezTo>
                    <a:pt x="1102" y="42"/>
                    <a:pt x="1102" y="54"/>
                    <a:pt x="1102" y="59"/>
                  </a:cubicBezTo>
                  <a:cubicBezTo>
                    <a:pt x="1099" y="59"/>
                    <a:pt x="1099" y="59"/>
                    <a:pt x="1099" y="59"/>
                  </a:cubicBezTo>
                  <a:cubicBezTo>
                    <a:pt x="1098" y="59"/>
                    <a:pt x="1098" y="59"/>
                    <a:pt x="1098" y="58"/>
                  </a:cubicBezTo>
                  <a:cubicBezTo>
                    <a:pt x="1096" y="50"/>
                    <a:pt x="1090" y="43"/>
                    <a:pt x="1080" y="43"/>
                  </a:cubicBezTo>
                  <a:cubicBezTo>
                    <a:pt x="1071" y="43"/>
                    <a:pt x="1068" y="48"/>
                    <a:pt x="1068" y="53"/>
                  </a:cubicBezTo>
                  <a:cubicBezTo>
                    <a:pt x="1068" y="74"/>
                    <a:pt x="1109" y="67"/>
                    <a:pt x="1109" y="94"/>
                  </a:cubicBezTo>
                  <a:cubicBezTo>
                    <a:pt x="1109" y="111"/>
                    <a:pt x="1094" y="119"/>
                    <a:pt x="1081" y="119"/>
                  </a:cubicBezTo>
                  <a:cubicBezTo>
                    <a:pt x="1072" y="119"/>
                    <a:pt x="1067" y="117"/>
                    <a:pt x="1062" y="115"/>
                  </a:cubicBezTo>
                  <a:close/>
                  <a:moveTo>
                    <a:pt x="1155" y="119"/>
                  </a:moveTo>
                  <a:cubicBezTo>
                    <a:pt x="1132" y="119"/>
                    <a:pt x="1122" y="110"/>
                    <a:pt x="1122" y="89"/>
                  </a:cubicBezTo>
                  <a:cubicBezTo>
                    <a:pt x="1122" y="59"/>
                    <a:pt x="1122" y="59"/>
                    <a:pt x="1122" y="59"/>
                  </a:cubicBezTo>
                  <a:cubicBezTo>
                    <a:pt x="1122" y="45"/>
                    <a:pt x="1122" y="44"/>
                    <a:pt x="1113" y="43"/>
                  </a:cubicBezTo>
                  <a:cubicBezTo>
                    <a:pt x="1112" y="43"/>
                    <a:pt x="1111" y="43"/>
                    <a:pt x="1111" y="42"/>
                  </a:cubicBezTo>
                  <a:cubicBezTo>
                    <a:pt x="1111" y="38"/>
                    <a:pt x="1111" y="38"/>
                    <a:pt x="1111" y="38"/>
                  </a:cubicBezTo>
                  <a:cubicBezTo>
                    <a:pt x="1117" y="38"/>
                    <a:pt x="1124" y="38"/>
                    <a:pt x="1129" y="38"/>
                  </a:cubicBezTo>
                  <a:cubicBezTo>
                    <a:pt x="1135" y="38"/>
                    <a:pt x="1142" y="38"/>
                    <a:pt x="1147" y="38"/>
                  </a:cubicBezTo>
                  <a:cubicBezTo>
                    <a:pt x="1147" y="42"/>
                    <a:pt x="1147" y="42"/>
                    <a:pt x="1147" y="42"/>
                  </a:cubicBezTo>
                  <a:cubicBezTo>
                    <a:pt x="1147" y="43"/>
                    <a:pt x="1147" y="43"/>
                    <a:pt x="1146" y="43"/>
                  </a:cubicBezTo>
                  <a:cubicBezTo>
                    <a:pt x="1136" y="44"/>
                    <a:pt x="1136" y="45"/>
                    <a:pt x="1136" y="59"/>
                  </a:cubicBezTo>
                  <a:cubicBezTo>
                    <a:pt x="1136" y="91"/>
                    <a:pt x="1136" y="91"/>
                    <a:pt x="1136" y="91"/>
                  </a:cubicBezTo>
                  <a:cubicBezTo>
                    <a:pt x="1136" y="103"/>
                    <a:pt x="1142" y="110"/>
                    <a:pt x="1157" y="110"/>
                  </a:cubicBezTo>
                  <a:cubicBezTo>
                    <a:pt x="1170" y="110"/>
                    <a:pt x="1177" y="103"/>
                    <a:pt x="1177" y="90"/>
                  </a:cubicBezTo>
                  <a:cubicBezTo>
                    <a:pt x="1177" y="71"/>
                    <a:pt x="1177" y="71"/>
                    <a:pt x="1177" y="71"/>
                  </a:cubicBezTo>
                  <a:cubicBezTo>
                    <a:pt x="1177" y="46"/>
                    <a:pt x="1177" y="45"/>
                    <a:pt x="1163" y="43"/>
                  </a:cubicBezTo>
                  <a:cubicBezTo>
                    <a:pt x="1162" y="43"/>
                    <a:pt x="1162" y="43"/>
                    <a:pt x="1162" y="42"/>
                  </a:cubicBezTo>
                  <a:cubicBezTo>
                    <a:pt x="1162" y="38"/>
                    <a:pt x="1162" y="38"/>
                    <a:pt x="1162" y="38"/>
                  </a:cubicBezTo>
                  <a:cubicBezTo>
                    <a:pt x="1167" y="38"/>
                    <a:pt x="1175" y="38"/>
                    <a:pt x="1181" y="38"/>
                  </a:cubicBezTo>
                  <a:cubicBezTo>
                    <a:pt x="1186" y="38"/>
                    <a:pt x="1189" y="38"/>
                    <a:pt x="1194" y="38"/>
                  </a:cubicBezTo>
                  <a:cubicBezTo>
                    <a:pt x="1194" y="42"/>
                    <a:pt x="1194" y="42"/>
                    <a:pt x="1194" y="42"/>
                  </a:cubicBezTo>
                  <a:cubicBezTo>
                    <a:pt x="1194" y="43"/>
                    <a:pt x="1194" y="43"/>
                    <a:pt x="1193" y="43"/>
                  </a:cubicBezTo>
                  <a:cubicBezTo>
                    <a:pt x="1185" y="44"/>
                    <a:pt x="1185" y="46"/>
                    <a:pt x="1185" y="71"/>
                  </a:cubicBezTo>
                  <a:cubicBezTo>
                    <a:pt x="1185" y="88"/>
                    <a:pt x="1185" y="88"/>
                    <a:pt x="1185" y="88"/>
                  </a:cubicBezTo>
                  <a:cubicBezTo>
                    <a:pt x="1185" y="109"/>
                    <a:pt x="1175" y="119"/>
                    <a:pt x="1155" y="119"/>
                  </a:cubicBezTo>
                  <a:close/>
                  <a:moveTo>
                    <a:pt x="1243" y="117"/>
                  </a:moveTo>
                  <a:cubicBezTo>
                    <a:pt x="1216" y="117"/>
                    <a:pt x="1216" y="117"/>
                    <a:pt x="1216" y="117"/>
                  </a:cubicBezTo>
                  <a:cubicBezTo>
                    <a:pt x="1211" y="117"/>
                    <a:pt x="1205" y="117"/>
                    <a:pt x="1199" y="117"/>
                  </a:cubicBezTo>
                  <a:cubicBezTo>
                    <a:pt x="1199" y="113"/>
                    <a:pt x="1199" y="113"/>
                    <a:pt x="1199" y="113"/>
                  </a:cubicBezTo>
                  <a:cubicBezTo>
                    <a:pt x="1199" y="112"/>
                    <a:pt x="1199" y="112"/>
                    <a:pt x="1200" y="112"/>
                  </a:cubicBezTo>
                  <a:cubicBezTo>
                    <a:pt x="1210" y="111"/>
                    <a:pt x="1210" y="110"/>
                    <a:pt x="1210" y="96"/>
                  </a:cubicBezTo>
                  <a:cubicBezTo>
                    <a:pt x="1210" y="59"/>
                    <a:pt x="1210" y="59"/>
                    <a:pt x="1210" y="59"/>
                  </a:cubicBezTo>
                  <a:cubicBezTo>
                    <a:pt x="1210" y="45"/>
                    <a:pt x="1210" y="44"/>
                    <a:pt x="1200" y="43"/>
                  </a:cubicBezTo>
                  <a:cubicBezTo>
                    <a:pt x="1199" y="43"/>
                    <a:pt x="1199" y="43"/>
                    <a:pt x="1199" y="42"/>
                  </a:cubicBezTo>
                  <a:cubicBezTo>
                    <a:pt x="1199" y="38"/>
                    <a:pt x="1199" y="38"/>
                    <a:pt x="1199" y="38"/>
                  </a:cubicBezTo>
                  <a:cubicBezTo>
                    <a:pt x="1205" y="38"/>
                    <a:pt x="1212" y="38"/>
                    <a:pt x="1217" y="38"/>
                  </a:cubicBezTo>
                  <a:cubicBezTo>
                    <a:pt x="1223" y="38"/>
                    <a:pt x="1232" y="38"/>
                    <a:pt x="1237" y="38"/>
                  </a:cubicBezTo>
                  <a:cubicBezTo>
                    <a:pt x="1237" y="42"/>
                    <a:pt x="1237" y="42"/>
                    <a:pt x="1237" y="42"/>
                  </a:cubicBezTo>
                  <a:cubicBezTo>
                    <a:pt x="1237" y="43"/>
                    <a:pt x="1237" y="43"/>
                    <a:pt x="1236" y="43"/>
                  </a:cubicBezTo>
                  <a:cubicBezTo>
                    <a:pt x="1224" y="44"/>
                    <a:pt x="1224" y="45"/>
                    <a:pt x="1224" y="59"/>
                  </a:cubicBezTo>
                  <a:cubicBezTo>
                    <a:pt x="1224" y="95"/>
                    <a:pt x="1224" y="95"/>
                    <a:pt x="1224" y="95"/>
                  </a:cubicBezTo>
                  <a:cubicBezTo>
                    <a:pt x="1224" y="109"/>
                    <a:pt x="1224" y="110"/>
                    <a:pt x="1235" y="110"/>
                  </a:cubicBezTo>
                  <a:cubicBezTo>
                    <a:pt x="1240" y="110"/>
                    <a:pt x="1240" y="110"/>
                    <a:pt x="1240" y="110"/>
                  </a:cubicBezTo>
                  <a:cubicBezTo>
                    <a:pt x="1250" y="110"/>
                    <a:pt x="1255" y="107"/>
                    <a:pt x="1257" y="92"/>
                  </a:cubicBezTo>
                  <a:cubicBezTo>
                    <a:pt x="1257" y="92"/>
                    <a:pt x="1257" y="91"/>
                    <a:pt x="1258" y="91"/>
                  </a:cubicBezTo>
                  <a:cubicBezTo>
                    <a:pt x="1261" y="91"/>
                    <a:pt x="1261" y="91"/>
                    <a:pt x="1261" y="91"/>
                  </a:cubicBezTo>
                  <a:cubicBezTo>
                    <a:pt x="1261" y="97"/>
                    <a:pt x="1261" y="111"/>
                    <a:pt x="1261" y="117"/>
                  </a:cubicBezTo>
                  <a:cubicBezTo>
                    <a:pt x="1256" y="117"/>
                    <a:pt x="1253" y="117"/>
                    <a:pt x="1243" y="117"/>
                  </a:cubicBezTo>
                  <a:close/>
                  <a:moveTo>
                    <a:pt x="1291" y="117"/>
                  </a:moveTo>
                  <a:cubicBezTo>
                    <a:pt x="1285" y="117"/>
                    <a:pt x="1278" y="117"/>
                    <a:pt x="1273" y="117"/>
                  </a:cubicBezTo>
                  <a:cubicBezTo>
                    <a:pt x="1273" y="113"/>
                    <a:pt x="1273" y="113"/>
                    <a:pt x="1273" y="113"/>
                  </a:cubicBezTo>
                  <a:cubicBezTo>
                    <a:pt x="1273" y="112"/>
                    <a:pt x="1273" y="112"/>
                    <a:pt x="1274" y="112"/>
                  </a:cubicBezTo>
                  <a:cubicBezTo>
                    <a:pt x="1284" y="111"/>
                    <a:pt x="1284" y="110"/>
                    <a:pt x="1284" y="96"/>
                  </a:cubicBezTo>
                  <a:cubicBezTo>
                    <a:pt x="1284" y="46"/>
                    <a:pt x="1284" y="46"/>
                    <a:pt x="1284" y="46"/>
                  </a:cubicBezTo>
                  <a:cubicBezTo>
                    <a:pt x="1284" y="45"/>
                    <a:pt x="1284" y="44"/>
                    <a:pt x="1283" y="44"/>
                  </a:cubicBezTo>
                  <a:cubicBezTo>
                    <a:pt x="1276" y="44"/>
                    <a:pt x="1276" y="44"/>
                    <a:pt x="1276" y="44"/>
                  </a:cubicBezTo>
                  <a:cubicBezTo>
                    <a:pt x="1266" y="44"/>
                    <a:pt x="1261" y="46"/>
                    <a:pt x="1260" y="61"/>
                  </a:cubicBezTo>
                  <a:cubicBezTo>
                    <a:pt x="1260" y="61"/>
                    <a:pt x="1259" y="61"/>
                    <a:pt x="1259" y="61"/>
                  </a:cubicBezTo>
                  <a:cubicBezTo>
                    <a:pt x="1255" y="61"/>
                    <a:pt x="1255" y="61"/>
                    <a:pt x="1255" y="61"/>
                  </a:cubicBezTo>
                  <a:cubicBezTo>
                    <a:pt x="1255" y="56"/>
                    <a:pt x="1255" y="44"/>
                    <a:pt x="1255" y="38"/>
                  </a:cubicBezTo>
                  <a:cubicBezTo>
                    <a:pt x="1260" y="38"/>
                    <a:pt x="1266" y="38"/>
                    <a:pt x="1276" y="38"/>
                  </a:cubicBezTo>
                  <a:cubicBezTo>
                    <a:pt x="1306" y="38"/>
                    <a:pt x="1306" y="38"/>
                    <a:pt x="1306" y="38"/>
                  </a:cubicBezTo>
                  <a:cubicBezTo>
                    <a:pt x="1316" y="38"/>
                    <a:pt x="1322" y="38"/>
                    <a:pt x="1327" y="38"/>
                  </a:cubicBezTo>
                  <a:cubicBezTo>
                    <a:pt x="1327" y="44"/>
                    <a:pt x="1327" y="56"/>
                    <a:pt x="1327" y="61"/>
                  </a:cubicBezTo>
                  <a:cubicBezTo>
                    <a:pt x="1323" y="61"/>
                    <a:pt x="1323" y="61"/>
                    <a:pt x="1323" y="61"/>
                  </a:cubicBezTo>
                  <a:cubicBezTo>
                    <a:pt x="1323" y="61"/>
                    <a:pt x="1322" y="61"/>
                    <a:pt x="1322" y="61"/>
                  </a:cubicBezTo>
                  <a:cubicBezTo>
                    <a:pt x="1320" y="46"/>
                    <a:pt x="1315" y="44"/>
                    <a:pt x="1306" y="44"/>
                  </a:cubicBezTo>
                  <a:cubicBezTo>
                    <a:pt x="1299" y="44"/>
                    <a:pt x="1299" y="44"/>
                    <a:pt x="1299" y="44"/>
                  </a:cubicBezTo>
                  <a:cubicBezTo>
                    <a:pt x="1298" y="44"/>
                    <a:pt x="1298" y="45"/>
                    <a:pt x="1298" y="46"/>
                  </a:cubicBezTo>
                  <a:cubicBezTo>
                    <a:pt x="1298" y="96"/>
                    <a:pt x="1298" y="96"/>
                    <a:pt x="1298" y="96"/>
                  </a:cubicBezTo>
                  <a:cubicBezTo>
                    <a:pt x="1298" y="110"/>
                    <a:pt x="1298" y="111"/>
                    <a:pt x="1308" y="112"/>
                  </a:cubicBezTo>
                  <a:cubicBezTo>
                    <a:pt x="1309" y="112"/>
                    <a:pt x="1309" y="112"/>
                    <a:pt x="1309" y="113"/>
                  </a:cubicBezTo>
                  <a:cubicBezTo>
                    <a:pt x="1309" y="117"/>
                    <a:pt x="1309" y="117"/>
                    <a:pt x="1309" y="117"/>
                  </a:cubicBezTo>
                  <a:cubicBezTo>
                    <a:pt x="1303" y="117"/>
                    <a:pt x="1296" y="117"/>
                    <a:pt x="1291" y="117"/>
                  </a:cubicBezTo>
                  <a:close/>
                  <a:moveTo>
                    <a:pt x="1349" y="117"/>
                  </a:moveTo>
                  <a:cubicBezTo>
                    <a:pt x="1343" y="117"/>
                    <a:pt x="1336" y="117"/>
                    <a:pt x="1331" y="117"/>
                  </a:cubicBezTo>
                  <a:cubicBezTo>
                    <a:pt x="1331" y="113"/>
                    <a:pt x="1331" y="113"/>
                    <a:pt x="1331" y="113"/>
                  </a:cubicBezTo>
                  <a:cubicBezTo>
                    <a:pt x="1331" y="112"/>
                    <a:pt x="1331" y="112"/>
                    <a:pt x="1332" y="112"/>
                  </a:cubicBezTo>
                  <a:cubicBezTo>
                    <a:pt x="1342" y="111"/>
                    <a:pt x="1342" y="110"/>
                    <a:pt x="1342" y="96"/>
                  </a:cubicBezTo>
                  <a:cubicBezTo>
                    <a:pt x="1342" y="59"/>
                    <a:pt x="1342" y="59"/>
                    <a:pt x="1342" y="59"/>
                  </a:cubicBezTo>
                  <a:cubicBezTo>
                    <a:pt x="1342" y="45"/>
                    <a:pt x="1342" y="44"/>
                    <a:pt x="1332" y="43"/>
                  </a:cubicBezTo>
                  <a:cubicBezTo>
                    <a:pt x="1331" y="43"/>
                    <a:pt x="1331" y="43"/>
                    <a:pt x="1331" y="42"/>
                  </a:cubicBezTo>
                  <a:cubicBezTo>
                    <a:pt x="1331" y="38"/>
                    <a:pt x="1331" y="38"/>
                    <a:pt x="1331" y="38"/>
                  </a:cubicBezTo>
                  <a:cubicBezTo>
                    <a:pt x="1336" y="38"/>
                    <a:pt x="1343" y="38"/>
                    <a:pt x="1349" y="38"/>
                  </a:cubicBezTo>
                  <a:cubicBezTo>
                    <a:pt x="1355" y="38"/>
                    <a:pt x="1361" y="38"/>
                    <a:pt x="1367" y="38"/>
                  </a:cubicBezTo>
                  <a:cubicBezTo>
                    <a:pt x="1367" y="42"/>
                    <a:pt x="1367" y="42"/>
                    <a:pt x="1367" y="42"/>
                  </a:cubicBezTo>
                  <a:cubicBezTo>
                    <a:pt x="1367" y="43"/>
                    <a:pt x="1367" y="43"/>
                    <a:pt x="1366" y="43"/>
                  </a:cubicBezTo>
                  <a:cubicBezTo>
                    <a:pt x="1356" y="44"/>
                    <a:pt x="1356" y="45"/>
                    <a:pt x="1356" y="59"/>
                  </a:cubicBezTo>
                  <a:cubicBezTo>
                    <a:pt x="1356" y="96"/>
                    <a:pt x="1356" y="96"/>
                    <a:pt x="1356" y="96"/>
                  </a:cubicBezTo>
                  <a:cubicBezTo>
                    <a:pt x="1356" y="110"/>
                    <a:pt x="1356" y="111"/>
                    <a:pt x="1366" y="112"/>
                  </a:cubicBezTo>
                  <a:cubicBezTo>
                    <a:pt x="1367" y="112"/>
                    <a:pt x="1367" y="112"/>
                    <a:pt x="1367" y="113"/>
                  </a:cubicBezTo>
                  <a:cubicBezTo>
                    <a:pt x="1367" y="117"/>
                    <a:pt x="1367" y="117"/>
                    <a:pt x="1367" y="117"/>
                  </a:cubicBezTo>
                  <a:cubicBezTo>
                    <a:pt x="1361" y="117"/>
                    <a:pt x="1354" y="117"/>
                    <a:pt x="1349" y="117"/>
                  </a:cubicBezTo>
                  <a:close/>
                  <a:moveTo>
                    <a:pt x="1438" y="119"/>
                  </a:moveTo>
                  <a:cubicBezTo>
                    <a:pt x="1436" y="115"/>
                    <a:pt x="1433" y="111"/>
                    <a:pt x="1430" y="107"/>
                  </a:cubicBezTo>
                  <a:cubicBezTo>
                    <a:pt x="1392" y="53"/>
                    <a:pt x="1392" y="53"/>
                    <a:pt x="1392" y="53"/>
                  </a:cubicBezTo>
                  <a:cubicBezTo>
                    <a:pt x="1392" y="53"/>
                    <a:pt x="1392" y="53"/>
                    <a:pt x="1392" y="53"/>
                  </a:cubicBezTo>
                  <a:cubicBezTo>
                    <a:pt x="1392" y="84"/>
                    <a:pt x="1392" y="84"/>
                    <a:pt x="1392" y="84"/>
                  </a:cubicBezTo>
                  <a:cubicBezTo>
                    <a:pt x="1392" y="108"/>
                    <a:pt x="1392" y="111"/>
                    <a:pt x="1406" y="112"/>
                  </a:cubicBezTo>
                  <a:cubicBezTo>
                    <a:pt x="1406" y="112"/>
                    <a:pt x="1407" y="112"/>
                    <a:pt x="1407" y="113"/>
                  </a:cubicBezTo>
                  <a:cubicBezTo>
                    <a:pt x="1407" y="117"/>
                    <a:pt x="1407" y="117"/>
                    <a:pt x="1407" y="117"/>
                  </a:cubicBezTo>
                  <a:cubicBezTo>
                    <a:pt x="1401" y="117"/>
                    <a:pt x="1393" y="117"/>
                    <a:pt x="1387" y="117"/>
                  </a:cubicBezTo>
                  <a:cubicBezTo>
                    <a:pt x="1382" y="117"/>
                    <a:pt x="1378" y="117"/>
                    <a:pt x="1373" y="117"/>
                  </a:cubicBezTo>
                  <a:cubicBezTo>
                    <a:pt x="1373" y="113"/>
                    <a:pt x="1373" y="113"/>
                    <a:pt x="1373" y="113"/>
                  </a:cubicBezTo>
                  <a:cubicBezTo>
                    <a:pt x="1373" y="112"/>
                    <a:pt x="1373" y="112"/>
                    <a:pt x="1374" y="112"/>
                  </a:cubicBezTo>
                  <a:cubicBezTo>
                    <a:pt x="1383" y="111"/>
                    <a:pt x="1383" y="108"/>
                    <a:pt x="1383" y="84"/>
                  </a:cubicBezTo>
                  <a:cubicBezTo>
                    <a:pt x="1383" y="59"/>
                    <a:pt x="1383" y="59"/>
                    <a:pt x="1383" y="59"/>
                  </a:cubicBezTo>
                  <a:cubicBezTo>
                    <a:pt x="1383" y="45"/>
                    <a:pt x="1383" y="44"/>
                    <a:pt x="1374" y="43"/>
                  </a:cubicBezTo>
                  <a:cubicBezTo>
                    <a:pt x="1373" y="43"/>
                    <a:pt x="1373" y="43"/>
                    <a:pt x="1373" y="42"/>
                  </a:cubicBezTo>
                  <a:cubicBezTo>
                    <a:pt x="1373" y="38"/>
                    <a:pt x="1373" y="38"/>
                    <a:pt x="1373" y="38"/>
                  </a:cubicBezTo>
                  <a:cubicBezTo>
                    <a:pt x="1377" y="38"/>
                    <a:pt x="1384" y="38"/>
                    <a:pt x="1386" y="38"/>
                  </a:cubicBezTo>
                  <a:cubicBezTo>
                    <a:pt x="1391" y="38"/>
                    <a:pt x="1396" y="38"/>
                    <a:pt x="1399" y="38"/>
                  </a:cubicBezTo>
                  <a:cubicBezTo>
                    <a:pt x="1439" y="96"/>
                    <a:pt x="1439" y="96"/>
                    <a:pt x="1439" y="96"/>
                  </a:cubicBezTo>
                  <a:cubicBezTo>
                    <a:pt x="1439" y="71"/>
                    <a:pt x="1439" y="71"/>
                    <a:pt x="1439" y="71"/>
                  </a:cubicBezTo>
                  <a:cubicBezTo>
                    <a:pt x="1439" y="47"/>
                    <a:pt x="1439" y="44"/>
                    <a:pt x="1425" y="43"/>
                  </a:cubicBezTo>
                  <a:cubicBezTo>
                    <a:pt x="1424" y="43"/>
                    <a:pt x="1424" y="43"/>
                    <a:pt x="1424" y="42"/>
                  </a:cubicBezTo>
                  <a:cubicBezTo>
                    <a:pt x="1424" y="38"/>
                    <a:pt x="1424" y="38"/>
                    <a:pt x="1424" y="38"/>
                  </a:cubicBezTo>
                  <a:cubicBezTo>
                    <a:pt x="1430" y="38"/>
                    <a:pt x="1438" y="38"/>
                    <a:pt x="1443" y="38"/>
                  </a:cubicBezTo>
                  <a:cubicBezTo>
                    <a:pt x="1449" y="38"/>
                    <a:pt x="1453" y="38"/>
                    <a:pt x="1458" y="38"/>
                  </a:cubicBezTo>
                  <a:cubicBezTo>
                    <a:pt x="1458" y="42"/>
                    <a:pt x="1458" y="42"/>
                    <a:pt x="1458" y="42"/>
                  </a:cubicBezTo>
                  <a:cubicBezTo>
                    <a:pt x="1458" y="43"/>
                    <a:pt x="1458" y="43"/>
                    <a:pt x="1458" y="43"/>
                  </a:cubicBezTo>
                  <a:cubicBezTo>
                    <a:pt x="1448" y="44"/>
                    <a:pt x="1447" y="47"/>
                    <a:pt x="1447" y="71"/>
                  </a:cubicBezTo>
                  <a:cubicBezTo>
                    <a:pt x="1447" y="119"/>
                    <a:pt x="1447" y="119"/>
                    <a:pt x="1447" y="119"/>
                  </a:cubicBezTo>
                  <a:lnTo>
                    <a:pt x="1438" y="119"/>
                  </a:lnTo>
                  <a:close/>
                  <a:moveTo>
                    <a:pt x="1537" y="86"/>
                  </a:moveTo>
                  <a:cubicBezTo>
                    <a:pt x="1537" y="87"/>
                    <a:pt x="1537" y="87"/>
                    <a:pt x="1536" y="87"/>
                  </a:cubicBezTo>
                  <a:cubicBezTo>
                    <a:pt x="1529" y="89"/>
                    <a:pt x="1529" y="89"/>
                    <a:pt x="1529" y="99"/>
                  </a:cubicBezTo>
                  <a:cubicBezTo>
                    <a:pt x="1529" y="102"/>
                    <a:pt x="1529" y="102"/>
                    <a:pt x="1529" y="102"/>
                  </a:cubicBezTo>
                  <a:cubicBezTo>
                    <a:pt x="1529" y="104"/>
                    <a:pt x="1529" y="108"/>
                    <a:pt x="1529" y="109"/>
                  </a:cubicBezTo>
                  <a:cubicBezTo>
                    <a:pt x="1529" y="110"/>
                    <a:pt x="1529" y="110"/>
                    <a:pt x="1528" y="110"/>
                  </a:cubicBezTo>
                  <a:cubicBezTo>
                    <a:pt x="1521" y="110"/>
                    <a:pt x="1517" y="119"/>
                    <a:pt x="1499" y="119"/>
                  </a:cubicBezTo>
                  <a:cubicBezTo>
                    <a:pt x="1478" y="119"/>
                    <a:pt x="1462" y="105"/>
                    <a:pt x="1462" y="77"/>
                  </a:cubicBezTo>
                  <a:cubicBezTo>
                    <a:pt x="1462" y="55"/>
                    <a:pt x="1474" y="36"/>
                    <a:pt x="1499" y="36"/>
                  </a:cubicBezTo>
                  <a:cubicBezTo>
                    <a:pt x="1507" y="36"/>
                    <a:pt x="1513" y="38"/>
                    <a:pt x="1517" y="40"/>
                  </a:cubicBezTo>
                  <a:cubicBezTo>
                    <a:pt x="1520" y="38"/>
                    <a:pt x="1520" y="38"/>
                    <a:pt x="1520" y="38"/>
                  </a:cubicBezTo>
                  <a:cubicBezTo>
                    <a:pt x="1520" y="37"/>
                    <a:pt x="1520" y="37"/>
                    <a:pt x="1521" y="37"/>
                  </a:cubicBezTo>
                  <a:cubicBezTo>
                    <a:pt x="1524" y="37"/>
                    <a:pt x="1524" y="37"/>
                    <a:pt x="1524" y="37"/>
                  </a:cubicBezTo>
                  <a:cubicBezTo>
                    <a:pt x="1524" y="42"/>
                    <a:pt x="1524" y="55"/>
                    <a:pt x="1524" y="61"/>
                  </a:cubicBezTo>
                  <a:cubicBezTo>
                    <a:pt x="1520" y="61"/>
                    <a:pt x="1520" y="61"/>
                    <a:pt x="1520" y="61"/>
                  </a:cubicBezTo>
                  <a:cubicBezTo>
                    <a:pt x="1520" y="61"/>
                    <a:pt x="1519" y="61"/>
                    <a:pt x="1519" y="60"/>
                  </a:cubicBezTo>
                  <a:cubicBezTo>
                    <a:pt x="1516" y="48"/>
                    <a:pt x="1511" y="43"/>
                    <a:pt x="1500" y="43"/>
                  </a:cubicBezTo>
                  <a:cubicBezTo>
                    <a:pt x="1481" y="43"/>
                    <a:pt x="1477" y="61"/>
                    <a:pt x="1477" y="77"/>
                  </a:cubicBezTo>
                  <a:cubicBezTo>
                    <a:pt x="1477" y="94"/>
                    <a:pt x="1482" y="113"/>
                    <a:pt x="1501" y="113"/>
                  </a:cubicBezTo>
                  <a:cubicBezTo>
                    <a:pt x="1510" y="113"/>
                    <a:pt x="1515" y="108"/>
                    <a:pt x="1515" y="100"/>
                  </a:cubicBezTo>
                  <a:cubicBezTo>
                    <a:pt x="1515" y="98"/>
                    <a:pt x="1515" y="98"/>
                    <a:pt x="1515" y="98"/>
                  </a:cubicBezTo>
                  <a:cubicBezTo>
                    <a:pt x="1515" y="89"/>
                    <a:pt x="1515" y="89"/>
                    <a:pt x="1503" y="87"/>
                  </a:cubicBezTo>
                  <a:cubicBezTo>
                    <a:pt x="1502" y="87"/>
                    <a:pt x="1502" y="87"/>
                    <a:pt x="1502" y="86"/>
                  </a:cubicBezTo>
                  <a:cubicBezTo>
                    <a:pt x="1502" y="82"/>
                    <a:pt x="1502" y="82"/>
                    <a:pt x="1502" y="82"/>
                  </a:cubicBezTo>
                  <a:cubicBezTo>
                    <a:pt x="1508" y="83"/>
                    <a:pt x="1516" y="83"/>
                    <a:pt x="1521" y="83"/>
                  </a:cubicBezTo>
                  <a:cubicBezTo>
                    <a:pt x="1527" y="83"/>
                    <a:pt x="1531" y="83"/>
                    <a:pt x="1537" y="82"/>
                  </a:cubicBezTo>
                  <a:lnTo>
                    <a:pt x="1537" y="86"/>
                  </a:lnTo>
                  <a:close/>
                  <a:moveTo>
                    <a:pt x="1670" y="71"/>
                  </a:moveTo>
                  <a:cubicBezTo>
                    <a:pt x="1670" y="72"/>
                    <a:pt x="1670" y="73"/>
                    <a:pt x="1669" y="73"/>
                  </a:cubicBezTo>
                  <a:cubicBezTo>
                    <a:pt x="1658" y="75"/>
                    <a:pt x="1658" y="75"/>
                    <a:pt x="1658" y="90"/>
                  </a:cubicBezTo>
                  <a:cubicBezTo>
                    <a:pt x="1658" y="94"/>
                    <a:pt x="1658" y="94"/>
                    <a:pt x="1658" y="94"/>
                  </a:cubicBezTo>
                  <a:cubicBezTo>
                    <a:pt x="1658" y="97"/>
                    <a:pt x="1659" y="102"/>
                    <a:pt x="1659" y="104"/>
                  </a:cubicBezTo>
                  <a:cubicBezTo>
                    <a:pt x="1659" y="105"/>
                    <a:pt x="1658" y="105"/>
                    <a:pt x="1658" y="105"/>
                  </a:cubicBezTo>
                  <a:cubicBezTo>
                    <a:pt x="1647" y="105"/>
                    <a:pt x="1643" y="119"/>
                    <a:pt x="1619" y="119"/>
                  </a:cubicBezTo>
                  <a:cubicBezTo>
                    <a:pt x="1589" y="119"/>
                    <a:pt x="1566" y="99"/>
                    <a:pt x="1566" y="59"/>
                  </a:cubicBezTo>
                  <a:cubicBezTo>
                    <a:pt x="1566" y="26"/>
                    <a:pt x="1583" y="0"/>
                    <a:pt x="1618" y="0"/>
                  </a:cubicBezTo>
                  <a:cubicBezTo>
                    <a:pt x="1629" y="0"/>
                    <a:pt x="1639" y="2"/>
                    <a:pt x="1645" y="6"/>
                  </a:cubicBezTo>
                  <a:cubicBezTo>
                    <a:pt x="1645" y="6"/>
                    <a:pt x="1645" y="6"/>
                    <a:pt x="1645" y="6"/>
                  </a:cubicBezTo>
                  <a:cubicBezTo>
                    <a:pt x="1648" y="2"/>
                    <a:pt x="1648" y="2"/>
                    <a:pt x="1648" y="2"/>
                  </a:cubicBezTo>
                  <a:cubicBezTo>
                    <a:pt x="1648" y="1"/>
                    <a:pt x="1649" y="1"/>
                    <a:pt x="1650" y="1"/>
                  </a:cubicBezTo>
                  <a:cubicBezTo>
                    <a:pt x="1652" y="1"/>
                    <a:pt x="1652" y="1"/>
                    <a:pt x="1652" y="1"/>
                  </a:cubicBezTo>
                  <a:cubicBezTo>
                    <a:pt x="1652" y="9"/>
                    <a:pt x="1653" y="26"/>
                    <a:pt x="1653" y="33"/>
                  </a:cubicBezTo>
                  <a:cubicBezTo>
                    <a:pt x="1648" y="33"/>
                    <a:pt x="1648" y="33"/>
                    <a:pt x="1648" y="33"/>
                  </a:cubicBezTo>
                  <a:cubicBezTo>
                    <a:pt x="1648" y="33"/>
                    <a:pt x="1647" y="33"/>
                    <a:pt x="1647" y="32"/>
                  </a:cubicBezTo>
                  <a:cubicBezTo>
                    <a:pt x="1643" y="16"/>
                    <a:pt x="1634" y="7"/>
                    <a:pt x="1618" y="7"/>
                  </a:cubicBezTo>
                  <a:cubicBezTo>
                    <a:pt x="1590" y="7"/>
                    <a:pt x="1585" y="34"/>
                    <a:pt x="1585" y="59"/>
                  </a:cubicBezTo>
                  <a:cubicBezTo>
                    <a:pt x="1585" y="85"/>
                    <a:pt x="1592" y="112"/>
                    <a:pt x="1620" y="112"/>
                  </a:cubicBezTo>
                  <a:cubicBezTo>
                    <a:pt x="1634" y="112"/>
                    <a:pt x="1643" y="105"/>
                    <a:pt x="1643" y="94"/>
                  </a:cubicBezTo>
                  <a:cubicBezTo>
                    <a:pt x="1643" y="89"/>
                    <a:pt x="1643" y="89"/>
                    <a:pt x="1643" y="89"/>
                  </a:cubicBezTo>
                  <a:cubicBezTo>
                    <a:pt x="1643" y="75"/>
                    <a:pt x="1643" y="75"/>
                    <a:pt x="1627" y="73"/>
                  </a:cubicBezTo>
                  <a:cubicBezTo>
                    <a:pt x="1626" y="73"/>
                    <a:pt x="1625" y="72"/>
                    <a:pt x="1625" y="71"/>
                  </a:cubicBezTo>
                  <a:cubicBezTo>
                    <a:pt x="1625" y="66"/>
                    <a:pt x="1625" y="66"/>
                    <a:pt x="1625" y="66"/>
                  </a:cubicBezTo>
                  <a:cubicBezTo>
                    <a:pt x="1633" y="66"/>
                    <a:pt x="1640" y="67"/>
                    <a:pt x="1649" y="67"/>
                  </a:cubicBezTo>
                  <a:cubicBezTo>
                    <a:pt x="1657" y="67"/>
                    <a:pt x="1662" y="66"/>
                    <a:pt x="1670" y="66"/>
                  </a:cubicBezTo>
                  <a:lnTo>
                    <a:pt x="1670" y="71"/>
                  </a:lnTo>
                  <a:close/>
                  <a:moveTo>
                    <a:pt x="1716" y="76"/>
                  </a:moveTo>
                  <a:cubicBezTo>
                    <a:pt x="1716" y="76"/>
                    <a:pt x="1716" y="76"/>
                    <a:pt x="1716" y="76"/>
                  </a:cubicBezTo>
                  <a:cubicBezTo>
                    <a:pt x="1740" y="80"/>
                    <a:pt x="1733" y="110"/>
                    <a:pt x="1742" y="110"/>
                  </a:cubicBezTo>
                  <a:cubicBezTo>
                    <a:pt x="1745" y="110"/>
                    <a:pt x="1746" y="109"/>
                    <a:pt x="1748" y="107"/>
                  </a:cubicBezTo>
                  <a:cubicBezTo>
                    <a:pt x="1750" y="110"/>
                    <a:pt x="1750" y="110"/>
                    <a:pt x="1750" y="110"/>
                  </a:cubicBezTo>
                  <a:cubicBezTo>
                    <a:pt x="1750" y="110"/>
                    <a:pt x="1751" y="110"/>
                    <a:pt x="1751" y="111"/>
                  </a:cubicBezTo>
                  <a:cubicBezTo>
                    <a:pt x="1751" y="111"/>
                    <a:pt x="1750" y="111"/>
                    <a:pt x="1750" y="111"/>
                  </a:cubicBezTo>
                  <a:cubicBezTo>
                    <a:pt x="1747" y="116"/>
                    <a:pt x="1742" y="118"/>
                    <a:pt x="1737" y="118"/>
                  </a:cubicBezTo>
                  <a:cubicBezTo>
                    <a:pt x="1725" y="118"/>
                    <a:pt x="1723" y="108"/>
                    <a:pt x="1720" y="96"/>
                  </a:cubicBezTo>
                  <a:cubicBezTo>
                    <a:pt x="1718" y="85"/>
                    <a:pt x="1715" y="79"/>
                    <a:pt x="1705" y="79"/>
                  </a:cubicBezTo>
                  <a:cubicBezTo>
                    <a:pt x="1697" y="79"/>
                    <a:pt x="1697" y="79"/>
                    <a:pt x="1697" y="79"/>
                  </a:cubicBezTo>
                  <a:cubicBezTo>
                    <a:pt x="1697" y="96"/>
                    <a:pt x="1697" y="96"/>
                    <a:pt x="1697" y="96"/>
                  </a:cubicBezTo>
                  <a:cubicBezTo>
                    <a:pt x="1697" y="110"/>
                    <a:pt x="1697" y="111"/>
                    <a:pt x="1707" y="112"/>
                  </a:cubicBezTo>
                  <a:cubicBezTo>
                    <a:pt x="1708" y="112"/>
                    <a:pt x="1708" y="112"/>
                    <a:pt x="1708" y="113"/>
                  </a:cubicBezTo>
                  <a:cubicBezTo>
                    <a:pt x="1708" y="117"/>
                    <a:pt x="1708" y="117"/>
                    <a:pt x="1708" y="117"/>
                  </a:cubicBezTo>
                  <a:cubicBezTo>
                    <a:pt x="1702" y="117"/>
                    <a:pt x="1695" y="117"/>
                    <a:pt x="1690" y="117"/>
                  </a:cubicBezTo>
                  <a:cubicBezTo>
                    <a:pt x="1684" y="117"/>
                    <a:pt x="1678" y="117"/>
                    <a:pt x="1672" y="117"/>
                  </a:cubicBezTo>
                  <a:cubicBezTo>
                    <a:pt x="1672" y="113"/>
                    <a:pt x="1672" y="113"/>
                    <a:pt x="1672" y="113"/>
                  </a:cubicBezTo>
                  <a:cubicBezTo>
                    <a:pt x="1672" y="112"/>
                    <a:pt x="1672" y="112"/>
                    <a:pt x="1673" y="112"/>
                  </a:cubicBezTo>
                  <a:cubicBezTo>
                    <a:pt x="1683" y="111"/>
                    <a:pt x="1683" y="110"/>
                    <a:pt x="1683" y="96"/>
                  </a:cubicBezTo>
                  <a:cubicBezTo>
                    <a:pt x="1683" y="59"/>
                    <a:pt x="1683" y="59"/>
                    <a:pt x="1683" y="59"/>
                  </a:cubicBezTo>
                  <a:cubicBezTo>
                    <a:pt x="1683" y="45"/>
                    <a:pt x="1683" y="44"/>
                    <a:pt x="1673" y="43"/>
                  </a:cubicBezTo>
                  <a:cubicBezTo>
                    <a:pt x="1672" y="43"/>
                    <a:pt x="1672" y="43"/>
                    <a:pt x="1672" y="42"/>
                  </a:cubicBezTo>
                  <a:cubicBezTo>
                    <a:pt x="1672" y="38"/>
                    <a:pt x="1672" y="38"/>
                    <a:pt x="1672" y="38"/>
                  </a:cubicBezTo>
                  <a:cubicBezTo>
                    <a:pt x="1678" y="38"/>
                    <a:pt x="1684" y="38"/>
                    <a:pt x="1690" y="38"/>
                  </a:cubicBezTo>
                  <a:cubicBezTo>
                    <a:pt x="1695" y="38"/>
                    <a:pt x="1704" y="38"/>
                    <a:pt x="1708" y="38"/>
                  </a:cubicBezTo>
                  <a:cubicBezTo>
                    <a:pt x="1724" y="38"/>
                    <a:pt x="1738" y="43"/>
                    <a:pt x="1738" y="56"/>
                  </a:cubicBezTo>
                  <a:cubicBezTo>
                    <a:pt x="1738" y="65"/>
                    <a:pt x="1733" y="73"/>
                    <a:pt x="1716" y="76"/>
                  </a:cubicBezTo>
                  <a:close/>
                  <a:moveTo>
                    <a:pt x="1708" y="44"/>
                  </a:moveTo>
                  <a:cubicBezTo>
                    <a:pt x="1704" y="44"/>
                    <a:pt x="1697" y="44"/>
                    <a:pt x="1697" y="46"/>
                  </a:cubicBezTo>
                  <a:cubicBezTo>
                    <a:pt x="1697" y="73"/>
                    <a:pt x="1697" y="73"/>
                    <a:pt x="1697" y="73"/>
                  </a:cubicBezTo>
                  <a:cubicBezTo>
                    <a:pt x="1704" y="73"/>
                    <a:pt x="1704" y="73"/>
                    <a:pt x="1704" y="73"/>
                  </a:cubicBezTo>
                  <a:cubicBezTo>
                    <a:pt x="1716" y="73"/>
                    <a:pt x="1723" y="69"/>
                    <a:pt x="1723" y="58"/>
                  </a:cubicBezTo>
                  <a:cubicBezTo>
                    <a:pt x="1723" y="48"/>
                    <a:pt x="1716" y="44"/>
                    <a:pt x="1708" y="44"/>
                  </a:cubicBezTo>
                  <a:close/>
                  <a:moveTo>
                    <a:pt x="1789" y="119"/>
                  </a:moveTo>
                  <a:cubicBezTo>
                    <a:pt x="1767" y="119"/>
                    <a:pt x="1750" y="103"/>
                    <a:pt x="1750" y="79"/>
                  </a:cubicBezTo>
                  <a:cubicBezTo>
                    <a:pt x="1750" y="50"/>
                    <a:pt x="1768" y="36"/>
                    <a:pt x="1788" y="36"/>
                  </a:cubicBezTo>
                  <a:cubicBezTo>
                    <a:pt x="1810" y="36"/>
                    <a:pt x="1827" y="52"/>
                    <a:pt x="1827" y="76"/>
                  </a:cubicBezTo>
                  <a:cubicBezTo>
                    <a:pt x="1827" y="105"/>
                    <a:pt x="1809" y="119"/>
                    <a:pt x="1789" y="119"/>
                  </a:cubicBezTo>
                  <a:close/>
                  <a:moveTo>
                    <a:pt x="1787" y="43"/>
                  </a:moveTo>
                  <a:cubicBezTo>
                    <a:pt x="1773" y="43"/>
                    <a:pt x="1766" y="54"/>
                    <a:pt x="1766" y="78"/>
                  </a:cubicBezTo>
                  <a:cubicBezTo>
                    <a:pt x="1766" y="103"/>
                    <a:pt x="1775" y="112"/>
                    <a:pt x="1789" y="112"/>
                  </a:cubicBezTo>
                  <a:cubicBezTo>
                    <a:pt x="1804" y="112"/>
                    <a:pt x="1811" y="101"/>
                    <a:pt x="1811" y="77"/>
                  </a:cubicBezTo>
                  <a:cubicBezTo>
                    <a:pt x="1811" y="52"/>
                    <a:pt x="1802" y="43"/>
                    <a:pt x="1787" y="43"/>
                  </a:cubicBezTo>
                  <a:close/>
                  <a:moveTo>
                    <a:pt x="1874" y="119"/>
                  </a:moveTo>
                  <a:cubicBezTo>
                    <a:pt x="1851" y="119"/>
                    <a:pt x="1841" y="110"/>
                    <a:pt x="1841" y="89"/>
                  </a:cubicBezTo>
                  <a:cubicBezTo>
                    <a:pt x="1841" y="59"/>
                    <a:pt x="1841" y="59"/>
                    <a:pt x="1841" y="59"/>
                  </a:cubicBezTo>
                  <a:cubicBezTo>
                    <a:pt x="1841" y="45"/>
                    <a:pt x="1841" y="44"/>
                    <a:pt x="1831" y="43"/>
                  </a:cubicBezTo>
                  <a:cubicBezTo>
                    <a:pt x="1830" y="43"/>
                    <a:pt x="1830" y="43"/>
                    <a:pt x="1830" y="42"/>
                  </a:cubicBezTo>
                  <a:cubicBezTo>
                    <a:pt x="1830" y="38"/>
                    <a:pt x="1830" y="38"/>
                    <a:pt x="1830" y="38"/>
                  </a:cubicBezTo>
                  <a:cubicBezTo>
                    <a:pt x="1835" y="38"/>
                    <a:pt x="1842" y="38"/>
                    <a:pt x="1848" y="38"/>
                  </a:cubicBezTo>
                  <a:cubicBezTo>
                    <a:pt x="1853" y="38"/>
                    <a:pt x="1860" y="38"/>
                    <a:pt x="1866" y="38"/>
                  </a:cubicBezTo>
                  <a:cubicBezTo>
                    <a:pt x="1866" y="42"/>
                    <a:pt x="1866" y="42"/>
                    <a:pt x="1866" y="42"/>
                  </a:cubicBezTo>
                  <a:cubicBezTo>
                    <a:pt x="1866" y="43"/>
                    <a:pt x="1865" y="43"/>
                    <a:pt x="1865" y="43"/>
                  </a:cubicBezTo>
                  <a:cubicBezTo>
                    <a:pt x="1855" y="44"/>
                    <a:pt x="1855" y="45"/>
                    <a:pt x="1855" y="59"/>
                  </a:cubicBezTo>
                  <a:cubicBezTo>
                    <a:pt x="1855" y="91"/>
                    <a:pt x="1855" y="91"/>
                    <a:pt x="1855" y="91"/>
                  </a:cubicBezTo>
                  <a:cubicBezTo>
                    <a:pt x="1855" y="103"/>
                    <a:pt x="1861" y="110"/>
                    <a:pt x="1875" y="110"/>
                  </a:cubicBezTo>
                  <a:cubicBezTo>
                    <a:pt x="1889" y="110"/>
                    <a:pt x="1895" y="103"/>
                    <a:pt x="1895" y="90"/>
                  </a:cubicBezTo>
                  <a:cubicBezTo>
                    <a:pt x="1895" y="71"/>
                    <a:pt x="1895" y="71"/>
                    <a:pt x="1895" y="71"/>
                  </a:cubicBezTo>
                  <a:cubicBezTo>
                    <a:pt x="1895" y="46"/>
                    <a:pt x="1895" y="45"/>
                    <a:pt x="1881" y="43"/>
                  </a:cubicBezTo>
                  <a:cubicBezTo>
                    <a:pt x="1881" y="43"/>
                    <a:pt x="1881" y="43"/>
                    <a:pt x="1881" y="42"/>
                  </a:cubicBezTo>
                  <a:cubicBezTo>
                    <a:pt x="1881" y="38"/>
                    <a:pt x="1881" y="38"/>
                    <a:pt x="1881" y="38"/>
                  </a:cubicBezTo>
                  <a:cubicBezTo>
                    <a:pt x="1886" y="38"/>
                    <a:pt x="1893" y="38"/>
                    <a:pt x="1899" y="38"/>
                  </a:cubicBezTo>
                  <a:cubicBezTo>
                    <a:pt x="1905" y="38"/>
                    <a:pt x="1907" y="38"/>
                    <a:pt x="1913" y="38"/>
                  </a:cubicBezTo>
                  <a:cubicBezTo>
                    <a:pt x="1913" y="42"/>
                    <a:pt x="1913" y="42"/>
                    <a:pt x="1913" y="42"/>
                  </a:cubicBezTo>
                  <a:cubicBezTo>
                    <a:pt x="1913" y="43"/>
                    <a:pt x="1913" y="43"/>
                    <a:pt x="1912" y="43"/>
                  </a:cubicBezTo>
                  <a:cubicBezTo>
                    <a:pt x="1903" y="44"/>
                    <a:pt x="1903" y="46"/>
                    <a:pt x="1903" y="71"/>
                  </a:cubicBezTo>
                  <a:cubicBezTo>
                    <a:pt x="1903" y="88"/>
                    <a:pt x="1903" y="88"/>
                    <a:pt x="1903" y="88"/>
                  </a:cubicBezTo>
                  <a:cubicBezTo>
                    <a:pt x="1903" y="109"/>
                    <a:pt x="1893" y="119"/>
                    <a:pt x="1874" y="119"/>
                  </a:cubicBezTo>
                  <a:close/>
                  <a:moveTo>
                    <a:pt x="1949" y="84"/>
                  </a:moveTo>
                  <a:cubicBezTo>
                    <a:pt x="1943" y="84"/>
                    <a:pt x="1943" y="84"/>
                    <a:pt x="1943" y="84"/>
                  </a:cubicBezTo>
                  <a:cubicBezTo>
                    <a:pt x="1943" y="96"/>
                    <a:pt x="1943" y="96"/>
                    <a:pt x="1943" y="96"/>
                  </a:cubicBezTo>
                  <a:cubicBezTo>
                    <a:pt x="1943" y="110"/>
                    <a:pt x="1943" y="111"/>
                    <a:pt x="1955" y="112"/>
                  </a:cubicBezTo>
                  <a:cubicBezTo>
                    <a:pt x="1956" y="112"/>
                    <a:pt x="1956" y="112"/>
                    <a:pt x="1956" y="113"/>
                  </a:cubicBezTo>
                  <a:cubicBezTo>
                    <a:pt x="1956" y="117"/>
                    <a:pt x="1956" y="117"/>
                    <a:pt x="1956" y="117"/>
                  </a:cubicBezTo>
                  <a:cubicBezTo>
                    <a:pt x="1951" y="117"/>
                    <a:pt x="1941" y="117"/>
                    <a:pt x="1936" y="117"/>
                  </a:cubicBezTo>
                  <a:cubicBezTo>
                    <a:pt x="1930" y="117"/>
                    <a:pt x="1923" y="117"/>
                    <a:pt x="1918" y="117"/>
                  </a:cubicBezTo>
                  <a:cubicBezTo>
                    <a:pt x="1918" y="113"/>
                    <a:pt x="1918" y="113"/>
                    <a:pt x="1918" y="113"/>
                  </a:cubicBezTo>
                  <a:cubicBezTo>
                    <a:pt x="1918" y="112"/>
                    <a:pt x="1918" y="112"/>
                    <a:pt x="1919" y="112"/>
                  </a:cubicBezTo>
                  <a:cubicBezTo>
                    <a:pt x="1929" y="111"/>
                    <a:pt x="1929" y="110"/>
                    <a:pt x="1929" y="96"/>
                  </a:cubicBezTo>
                  <a:cubicBezTo>
                    <a:pt x="1929" y="59"/>
                    <a:pt x="1929" y="59"/>
                    <a:pt x="1929" y="59"/>
                  </a:cubicBezTo>
                  <a:cubicBezTo>
                    <a:pt x="1929" y="45"/>
                    <a:pt x="1929" y="44"/>
                    <a:pt x="1919" y="43"/>
                  </a:cubicBezTo>
                  <a:cubicBezTo>
                    <a:pt x="1918" y="43"/>
                    <a:pt x="1918" y="43"/>
                    <a:pt x="1918" y="42"/>
                  </a:cubicBezTo>
                  <a:cubicBezTo>
                    <a:pt x="1918" y="38"/>
                    <a:pt x="1918" y="38"/>
                    <a:pt x="1918" y="38"/>
                  </a:cubicBezTo>
                  <a:cubicBezTo>
                    <a:pt x="1923" y="38"/>
                    <a:pt x="1930" y="38"/>
                    <a:pt x="1936" y="38"/>
                  </a:cubicBezTo>
                  <a:cubicBezTo>
                    <a:pt x="1942" y="38"/>
                    <a:pt x="1947" y="38"/>
                    <a:pt x="1952" y="38"/>
                  </a:cubicBezTo>
                  <a:cubicBezTo>
                    <a:pt x="1965" y="38"/>
                    <a:pt x="1984" y="42"/>
                    <a:pt x="1984" y="59"/>
                  </a:cubicBezTo>
                  <a:cubicBezTo>
                    <a:pt x="1984" y="70"/>
                    <a:pt x="1978" y="84"/>
                    <a:pt x="1949" y="84"/>
                  </a:cubicBezTo>
                  <a:close/>
                  <a:moveTo>
                    <a:pt x="1952" y="44"/>
                  </a:moveTo>
                  <a:cubicBezTo>
                    <a:pt x="1949" y="44"/>
                    <a:pt x="1943" y="44"/>
                    <a:pt x="1943" y="46"/>
                  </a:cubicBezTo>
                  <a:cubicBezTo>
                    <a:pt x="1943" y="78"/>
                    <a:pt x="1943" y="78"/>
                    <a:pt x="1943" y="78"/>
                  </a:cubicBezTo>
                  <a:cubicBezTo>
                    <a:pt x="1949" y="78"/>
                    <a:pt x="1949" y="78"/>
                    <a:pt x="1949" y="78"/>
                  </a:cubicBezTo>
                  <a:cubicBezTo>
                    <a:pt x="1962" y="78"/>
                    <a:pt x="1969" y="73"/>
                    <a:pt x="1969" y="60"/>
                  </a:cubicBezTo>
                  <a:cubicBezTo>
                    <a:pt x="1969" y="49"/>
                    <a:pt x="1962" y="44"/>
                    <a:pt x="1952"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6E6F73"/>
                </a:solidFill>
                <a:latin typeface="+mn-lt"/>
                <a:sym typeface="Trebuchet MS" panose="020B0603020202020204" pitchFamily="34" charset="0"/>
              </a:endParaRPr>
            </a:p>
          </p:txBody>
        </p:sp>
      </p:gr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a:lnSpc>
                <a:spcPct val="90000"/>
              </a:lnSpc>
              <a:spcAft>
                <a:spcPts val="600"/>
              </a:spcAft>
            </a:pPr>
            <a:r>
              <a:rPr lang="en-US" sz="1200" dirty="0">
                <a:solidFill>
                  <a:schemeClr val="bg1"/>
                </a:solidFill>
                <a:latin typeface="+mn-lt"/>
                <a:sym typeface="Trebuchet MS" panose="020B0603020202020204" pitchFamily="34" charset="0"/>
              </a:rPr>
              <a:t>bcg.com</a:t>
            </a:r>
          </a:p>
        </p:txBody>
      </p:sp>
    </p:spTree>
    <p:extLst>
      <p:ext uri="{BB962C8B-B14F-4D97-AF65-F5344CB8AC3E}">
        <p14:creationId xmlns:p14="http://schemas.microsoft.com/office/powerpoint/2010/main" val="10022524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pSp>
        <p:nvGrpSpPr>
          <p:cNvPr id="144" name="Group 143"/>
          <p:cNvGrpSpPr/>
          <p:nvPr userDrawn="1"/>
        </p:nvGrpSpPr>
        <p:grpSpPr>
          <a:xfrm>
            <a:off x="-600" y="-1"/>
            <a:ext cx="12193800" cy="6858001"/>
            <a:chOff x="-600" y="-1"/>
            <a:chExt cx="12193800" cy="6858001"/>
          </a:xfrm>
        </p:grpSpPr>
        <p:sp>
          <p:nvSpPr>
            <p:cNvPr id="145"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ndParaRPr>
            </a:p>
          </p:txBody>
        </p:sp>
        <p:grpSp>
          <p:nvGrpSpPr>
            <p:cNvPr id="146" name="Baselines / anchors"/>
            <p:cNvGrpSpPr/>
            <p:nvPr userDrawn="1"/>
          </p:nvGrpSpPr>
          <p:grpSpPr>
            <a:xfrm>
              <a:off x="-600" y="622800"/>
              <a:ext cx="12193200" cy="5536800"/>
              <a:chOff x="12623800" y="622800"/>
              <a:chExt cx="11176000" cy="5536800"/>
            </a:xfrm>
          </p:grpSpPr>
          <p:cxnSp>
            <p:nvCxnSpPr>
              <p:cNvPr id="170" name="Straight Connector 169"/>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1" name="Straight Connector 170"/>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2" name="Straight Connector 171"/>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3" name="Straight Connector 172"/>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4" name="Straight Connector 173"/>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5" name="Straight Connector 174"/>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6" name="Straight Connector 175"/>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7" name="Straight Connector 176"/>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8" name="Straight Connector 177"/>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9" name="Straight Connector 178"/>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0" name="Straight Connector 179"/>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1" name="Straight Connector 180"/>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2" name="Straight Connector 181"/>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3" name="Straight Connector 182"/>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4" name="Straight Connector 183"/>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5" name="Straight Connector 184"/>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6" name="Straight Connector 185"/>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7" name="Straight Connector 186"/>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8" name="Straight Connector 187"/>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9" name="Straight Connector 188"/>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147" name="Gutter space"/>
            <p:cNvGrpSpPr/>
            <p:nvPr userDrawn="1"/>
          </p:nvGrpSpPr>
          <p:grpSpPr>
            <a:xfrm>
              <a:off x="1277000" y="623550"/>
              <a:ext cx="9638000" cy="5537047"/>
              <a:chOff x="1277000" y="623550"/>
              <a:chExt cx="9638000" cy="5537047"/>
            </a:xfrm>
          </p:grpSpPr>
          <p:sp>
            <p:nvSpPr>
              <p:cNvPr id="159"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60"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61"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62"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63"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64"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65"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66"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67"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68"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69"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grpSp>
        <p:sp>
          <p:nvSpPr>
            <p:cNvPr id="148"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mn-lt"/>
                <a:ea typeface="+mn-ea"/>
                <a:cs typeface="+mn-cs"/>
              </a:endParaRPr>
            </a:p>
          </p:txBody>
        </p:sp>
        <p:sp>
          <p:nvSpPr>
            <p:cNvPr id="149"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50"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grpSp>
          <p:nvGrpSpPr>
            <p:cNvPr id="151" name="Five column measure"/>
            <p:cNvGrpSpPr/>
            <p:nvPr userDrawn="1"/>
          </p:nvGrpSpPr>
          <p:grpSpPr>
            <a:xfrm>
              <a:off x="629400" y="5975122"/>
              <a:ext cx="10933200" cy="79536"/>
              <a:chOff x="629400" y="5975122"/>
              <a:chExt cx="10933200" cy="79536"/>
            </a:xfrm>
          </p:grpSpPr>
          <p:sp>
            <p:nvSpPr>
              <p:cNvPr id="154"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55"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56"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57"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58"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grpSp>
        <p:sp>
          <p:nvSpPr>
            <p:cNvPr id="152"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ndParaRPr>
            </a:p>
          </p:txBody>
        </p:sp>
        <p:sp>
          <p:nvSpPr>
            <p:cNvPr id="153"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1. </a:t>
              </a:r>
              <a:r>
                <a:rPr kumimoji="0" lang="en-US" sz="1000" b="0" i="0" u="none" strike="noStrike" kern="1200" cap="none" spc="0" normalizeH="0" baseline="0" noProof="0" dirty="0" err="1">
                  <a:ln>
                    <a:noFill/>
                  </a:ln>
                  <a:solidFill>
                    <a:schemeClr val="bg1">
                      <a:lumMod val="50000"/>
                    </a:schemeClr>
                  </a:solidFill>
                  <a:effectLst/>
                  <a:uLnTx/>
                  <a:uFillTx/>
                  <a:latin typeface="+mn-lt"/>
                  <a:ea typeface="+mn-ea"/>
                  <a:cs typeface="+mn-cs"/>
                  <a:sym typeface="Trebuchet MS" panose="020B0603020202020204" pitchFamily="34" charset="0"/>
                </a:rPr>
                <a:t>xxxx</a:t>
              </a: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  2. </a:t>
              </a:r>
              <a:r>
                <a:rPr kumimoji="0" lang="en-US" sz="1000" b="0" i="0" u="none" strike="noStrike" kern="1200" cap="none" spc="0" normalizeH="0" baseline="0" noProof="0" dirty="0" err="1">
                  <a:ln>
                    <a:noFill/>
                  </a:ln>
                  <a:solidFill>
                    <a:schemeClr val="bg1">
                      <a:lumMod val="50000"/>
                    </a:schemeClr>
                  </a:solidFill>
                  <a:effectLst/>
                  <a:uLnTx/>
                  <a:uFillTx/>
                  <a:latin typeface="+mn-lt"/>
                  <a:ea typeface="+mn-ea"/>
                  <a:cs typeface="+mn-cs"/>
                  <a:sym typeface="Trebuchet MS" panose="020B0603020202020204" pitchFamily="34" charset="0"/>
                </a:rPr>
                <a:t>xxxx</a:t>
              </a: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5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55"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Slide examples_Killer slides_Final.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35533689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Trebuchet MS" panose="020B0603020202020204" pitchFamily="34" charset="0"/>
                <a:sym typeface="Trebuchet MS" panose="020B0603020202020204" pitchFamily="34" charset="0"/>
              </a:rPr>
              <a:t>Copyright © 2017 by The Boston Consulting Group, Inc. All rights reserved.</a:t>
            </a:r>
          </a:p>
        </p:txBody>
      </p:sp>
      <p:sp>
        <p:nvSpPr>
          <p:cNvPr id="11" name="Rectangle 10"/>
          <p:cNvSpPr/>
          <p:nvPr userDrawn="1"/>
        </p:nvSpPr>
        <p:spPr bwMode="invGray">
          <a:xfrm>
            <a:off x="1388145" y="4691187"/>
            <a:ext cx="929337" cy="995874"/>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a:solidFill>
                <a:prstClr val="white"/>
              </a:solidFill>
              <a:latin typeface="Trebuchet MS" panose="020B0603020202020204" pitchFamily="34" charset="0"/>
            </a:endParaRPr>
          </a:p>
        </p:txBody>
      </p:sp>
      <p:sp>
        <p:nvSpPr>
          <p:cNvPr id="12" name="Rectangle 11"/>
          <p:cNvSpPr/>
          <p:nvPr userDrawn="1">
            <p:custDataLst>
              <p:tags r:id="rId2"/>
            </p:custDataLst>
          </p:nvPr>
        </p:nvSpPr>
        <p:spPr>
          <a:xfrm>
            <a:off x="2509482" y="4691187"/>
            <a:ext cx="1570152" cy="1468176"/>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Trebuchet MS" panose="020B0603020202020204" pitchFamily="34" charset="0"/>
            </a:endParaRPr>
          </a:p>
        </p:txBody>
      </p:sp>
      <p:sp>
        <p:nvSpPr>
          <p:cNvPr id="2" name="TextBox 1"/>
          <p:cNvSpPr txBox="1"/>
          <p:nvPr userDrawn="1"/>
        </p:nvSpPr>
        <p:spPr>
          <a:xfrm>
            <a:off x="630000" y="907199"/>
            <a:ext cx="3448800" cy="3488400"/>
          </a:xfrm>
          <a:prstGeom prst="rect">
            <a:avLst/>
          </a:prstGeom>
          <a:noFill/>
          <a:ln>
            <a:solidFill>
              <a:schemeClr val="bg1"/>
            </a:solidFill>
          </a:ln>
        </p:spPr>
        <p:txBody>
          <a:bodyPr wrap="square" lIns="612000" tIns="468000" rIns="0" bIns="0" rtlCol="0" anchor="t">
            <a:spAutoFit/>
          </a:bodyPr>
          <a:lstStyle/>
          <a:p>
            <a:pPr>
              <a:lnSpc>
                <a:spcPct val="90000"/>
              </a:lnSpc>
              <a:spcAft>
                <a:spcPts val="600"/>
              </a:spcAft>
            </a:pPr>
            <a:endParaRPr lang="en-US" sz="5400" dirty="0">
              <a:solidFill>
                <a:schemeClr val="bg1"/>
              </a:solidFill>
            </a:endParaRPr>
          </a:p>
        </p:txBody>
      </p:sp>
      <p:sp>
        <p:nvSpPr>
          <p:cNvPr id="10" name="TextBox 1"/>
          <p:cNvSpPr txBox="1"/>
          <p:nvPr userDrawn="1"/>
        </p:nvSpPr>
        <p:spPr>
          <a:xfrm>
            <a:off x="1109949" y="1115416"/>
            <a:ext cx="2488182" cy="896399"/>
          </a:xfrm>
          <a:prstGeom prst="rect">
            <a:avLst/>
          </a:prstGeom>
          <a:noFill/>
        </p:spPr>
        <p:txBody>
          <a:bodyPr wrap="none" rtlCol="0">
            <a:spAutoFit/>
          </a:bodyPr>
          <a:lstStyle/>
          <a:p>
            <a:pPr algn="ctr" fontAlgn="auto">
              <a:lnSpc>
                <a:spcPct val="95000"/>
              </a:lnSpc>
              <a:spcBef>
                <a:spcPts val="0"/>
              </a:spcBef>
              <a:spcAft>
                <a:spcPts val="0"/>
              </a:spcAft>
            </a:pPr>
            <a:r>
              <a:rPr lang="en-US" sz="5400" dirty="0">
                <a:solidFill>
                  <a:schemeClr val="bg1"/>
                </a:solidFill>
                <a:latin typeface="+mj-lt"/>
              </a:rPr>
              <a:t>Agenda</a:t>
            </a:r>
          </a:p>
        </p:txBody>
      </p:sp>
    </p:spTree>
    <p:extLst>
      <p:ext uri="{BB962C8B-B14F-4D97-AF65-F5344CB8AC3E}">
        <p14:creationId xmlns:p14="http://schemas.microsoft.com/office/powerpoint/2010/main" val="254215489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96349202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Trebuchet MS" panose="020B0603020202020204" pitchFamily="34" charset="0"/>
                <a:sym typeface="Trebuchet MS" panose="020B0603020202020204" pitchFamily="34" charset="0"/>
              </a:rPr>
              <a:t>Copyright © 2017 by The Boston Consulting Group, Inc. All rights reserved.</a:t>
            </a:r>
          </a:p>
        </p:txBody>
      </p:sp>
      <p:sp>
        <p:nvSpPr>
          <p:cNvPr id="10" name="Rectangle 9"/>
          <p:cNvSpPr/>
          <p:nvPr userDrawn="1"/>
        </p:nvSpPr>
        <p:spPr bwMode="white">
          <a:xfrm>
            <a:off x="1284743" y="1428131"/>
            <a:ext cx="947672" cy="94767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Trebuchet MS" panose="020B0603020202020204" pitchFamily="34" charset="0"/>
              <a:sym typeface="Trebuchet MS" panose="020B0603020202020204" pitchFamily="34" charset="0"/>
            </a:endParaRPr>
          </a:p>
        </p:txBody>
      </p:sp>
      <p:sp>
        <p:nvSpPr>
          <p:cNvPr id="13" name="Rectangle 12"/>
          <p:cNvSpPr/>
          <p:nvPr userDrawn="1"/>
        </p:nvSpPr>
        <p:spPr>
          <a:xfrm>
            <a:off x="1285200" y="2667600"/>
            <a:ext cx="9619200" cy="32004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a:solidFill>
                <a:prstClr val="white"/>
              </a:solidFill>
              <a:latin typeface="Trebuchet MS" panose="020B0603020202020204" pitchFamily="34" charset="0"/>
            </a:endParaRPr>
          </a:p>
        </p:txBody>
      </p:sp>
    </p:spTree>
    <p:extLst>
      <p:ext uri="{BB962C8B-B14F-4D97-AF65-F5344CB8AC3E}">
        <p14:creationId xmlns:p14="http://schemas.microsoft.com/office/powerpoint/2010/main" val="15188113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89DCA290-67BF-6B89-69F8-58B2190865F1}"/>
              </a:ext>
            </a:extLst>
          </p:cNvPr>
          <p:cNvSpPr>
            <a:spLocks noGrp="1"/>
          </p:cNvSpPr>
          <p:nvPr>
            <p:ph type="dt" sz="half" idx="10"/>
          </p:nvPr>
        </p:nvSpPr>
        <p:spPr/>
        <p:txBody>
          <a:bodyPr/>
          <a:lstStyle/>
          <a:p>
            <a:fld id="{DCAFD43A-663F-4A92-A292-D8EDA73F00B6}" type="datetimeFigureOut">
              <a:rPr lang="en-US" smtClean="0"/>
              <a:t>4/4/2023</a:t>
            </a:fld>
            <a:endParaRPr lang="en-US"/>
          </a:p>
        </p:txBody>
      </p:sp>
      <p:sp>
        <p:nvSpPr>
          <p:cNvPr id="3" name="Footer Placeholder 2">
            <a:extLst>
              <a:ext uri="{FF2B5EF4-FFF2-40B4-BE49-F238E27FC236}">
                <a16:creationId xmlns:a16="http://schemas.microsoft.com/office/drawing/2014/main" id="{865CBBF0-5987-ED09-A977-BE5530F0D59A}"/>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725471FA-D1DF-ACC1-A53A-F955FAF62108}"/>
              </a:ext>
            </a:extLst>
          </p:cNvPr>
          <p:cNvSpPr>
            <a:spLocks noGrp="1"/>
          </p:cNvSpPr>
          <p:nvPr>
            <p:ph type="sldNum" sz="quarter" idx="12"/>
          </p:nvPr>
        </p:nvSpPr>
        <p:spPr/>
        <p:txBody>
          <a:bodyPr/>
          <a:lstStyle/>
          <a:p>
            <a:fld id="{2EE30602-477F-49EB-9371-72C7D77D4B6F}" type="slidenum">
              <a:rPr lang="en-US" smtClean="0"/>
              <a:t>‹#›</a:t>
            </a:fld>
            <a:endParaRPr lang="en-US"/>
          </a:p>
        </p:txBody>
      </p:sp>
    </p:spTree>
    <p:extLst>
      <p:ext uri="{BB962C8B-B14F-4D97-AF65-F5344CB8AC3E}">
        <p14:creationId xmlns:p14="http://schemas.microsoft.com/office/powerpoint/2010/main" val="2302172052"/>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userDrawn="1">
  <p:cSld name="Agenda Full Width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Trebuchet MS" panose="020B0603020202020204" pitchFamily="34" charset="0"/>
                <a:sym typeface="Trebuchet MS" panose="020B0603020202020204" pitchFamily="34" charset="0"/>
              </a:rPr>
              <a:t>Copyright © 2017 by The Boston Consulting Group, Inc. All rights reserved.</a:t>
            </a:r>
          </a:p>
        </p:txBody>
      </p:sp>
      <p:sp>
        <p:nvSpPr>
          <p:cNvPr id="10"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chemeClr val="bg1"/>
                </a:solidFill>
              </a:rPr>
              <a:t>Agenda</a:t>
            </a:r>
          </a:p>
        </p:txBody>
      </p:sp>
      <p:cxnSp>
        <p:nvCxnSpPr>
          <p:cNvPr id="13" name="Straight Connector 12"/>
          <p:cNvCxnSpPr/>
          <p:nvPr userDrawn="1"/>
        </p:nvCxnSpPr>
        <p:spPr bwMode="white">
          <a:xfrm>
            <a:off x="618898" y="1206000"/>
            <a:ext cx="11576304"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6210171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userDrawn="1">
  <p:cSld name="Agenda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4"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Slide examples_Killer slides_Final.pptx</a:t>
            </a:r>
            <a:endParaRPr lang="en-US" sz="700" dirty="0">
              <a:solidFill>
                <a:schemeClr val="bg1">
                  <a:lumMod val="50000"/>
                </a:schemeClr>
              </a:solidFill>
              <a:latin typeface="+mn-lt"/>
              <a:sym typeface="Trebuchet MS" panose="020B0603020202020204" pitchFamily="34" charset="0"/>
            </a:endParaRPr>
          </a:p>
        </p:txBody>
      </p:sp>
      <p:sp>
        <p:nvSpPr>
          <p:cNvPr id="17" name="TextBox 16"/>
          <p:cNvSpPr txBox="1"/>
          <p:nvPr userDrawn="1"/>
        </p:nvSpPr>
        <p:spPr>
          <a:xfrm>
            <a:off x="630000" y="3207715"/>
            <a:ext cx="1547143" cy="443198"/>
          </a:xfrm>
          <a:prstGeom prst="rect">
            <a:avLst/>
          </a:prstGeom>
          <a:noFill/>
        </p:spPr>
        <p:txBody>
          <a:bodyPr wrap="square" lIns="0" tIns="0" rIns="0" bIns="0" rtlCol="0" anchor="t">
            <a:spAutoFit/>
          </a:bodyPr>
          <a:lstStyle/>
          <a:p>
            <a:pPr>
              <a:lnSpc>
                <a:spcPct val="90000"/>
              </a:lnSpc>
              <a:spcAft>
                <a:spcPts val="600"/>
              </a:spcAft>
            </a:pPr>
            <a:r>
              <a:rPr lang="en-US" sz="3200" dirty="0">
                <a:solidFill>
                  <a:schemeClr val="bg1"/>
                </a:solidFill>
              </a:rPr>
              <a:t>Agenda</a:t>
            </a:r>
          </a:p>
        </p:txBody>
      </p:sp>
    </p:spTree>
    <p:extLst>
      <p:ext uri="{BB962C8B-B14F-4D97-AF65-F5344CB8AC3E}">
        <p14:creationId xmlns:p14="http://schemas.microsoft.com/office/powerpoint/2010/main" val="369046768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Agenda D. Section Header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Trebuchet MS" panose="020B0603020202020204" pitchFamily="34" charset="0"/>
                <a:sym typeface="Trebuchet MS" panose="020B0603020202020204" pitchFamily="34" charset="0"/>
              </a:rPr>
              <a:t>Copyright © 2017 by The Boston Consulting Group, Inc. All rights reserved.</a:t>
            </a:r>
          </a:p>
        </p:txBody>
      </p:sp>
      <p:sp>
        <p:nvSpPr>
          <p:cNvPr id="8" name="Rectangle 7"/>
          <p:cNvSpPr/>
          <p:nvPr userDrawn="1"/>
        </p:nvSpPr>
        <p:spPr bwMode="invGray">
          <a:xfrm>
            <a:off x="1388145" y="4691187"/>
            <a:ext cx="929337" cy="995874"/>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a:solidFill>
                <a:prstClr val="white"/>
              </a:solidFill>
              <a:latin typeface="Trebuchet MS" panose="020B0603020202020204" pitchFamily="34" charset="0"/>
            </a:endParaRPr>
          </a:p>
        </p:txBody>
      </p:sp>
      <p:sp>
        <p:nvSpPr>
          <p:cNvPr id="10" name="Rectangle 9"/>
          <p:cNvSpPr/>
          <p:nvPr userDrawn="1">
            <p:custDataLst>
              <p:tags r:id="rId2"/>
            </p:custDataLst>
          </p:nvPr>
        </p:nvSpPr>
        <p:spPr>
          <a:xfrm>
            <a:off x="2509482" y="4691187"/>
            <a:ext cx="1570152" cy="1468176"/>
          </a:xfrm>
          <a:prstGeom prst="rect">
            <a:avLst/>
          </a:prstGeom>
          <a:noFill/>
          <a:ln w="9525" cmpd="sng">
            <a:solidFill>
              <a:schemeClr val="accent4"/>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Trebuchet MS" panose="020B0603020202020204" pitchFamily="34" charset="0"/>
            </a:endParaRPr>
          </a:p>
        </p:txBody>
      </p:sp>
      <p:sp>
        <p:nvSpPr>
          <p:cNvPr id="11" name="TextBox 10"/>
          <p:cNvSpPr txBox="1"/>
          <p:nvPr userDrawn="1"/>
        </p:nvSpPr>
        <p:spPr>
          <a:xfrm>
            <a:off x="630000" y="907198"/>
            <a:ext cx="3448800" cy="3488400"/>
          </a:xfrm>
          <a:prstGeom prst="rect">
            <a:avLst/>
          </a:prstGeom>
          <a:noFill/>
          <a:ln>
            <a:solidFill>
              <a:schemeClr val="accent4"/>
            </a:solidFill>
          </a:ln>
        </p:spPr>
        <p:txBody>
          <a:bodyPr wrap="square" lIns="612000" tIns="468000" rIns="0" bIns="0" rtlCol="0" anchor="t">
            <a:spAutoFit/>
          </a:bodyPr>
          <a:lstStyle/>
          <a:p>
            <a:pPr>
              <a:lnSpc>
                <a:spcPct val="90000"/>
              </a:lnSpc>
              <a:spcAft>
                <a:spcPts val="600"/>
              </a:spcAft>
            </a:pPr>
            <a:endParaRPr lang="en-US" sz="5400" dirty="0">
              <a:solidFill>
                <a:schemeClr val="accent4"/>
              </a:solidFill>
            </a:endParaRPr>
          </a:p>
        </p:txBody>
      </p:sp>
      <p:sp>
        <p:nvSpPr>
          <p:cNvPr id="9" name="TextBox 1"/>
          <p:cNvSpPr txBox="1"/>
          <p:nvPr userDrawn="1"/>
        </p:nvSpPr>
        <p:spPr>
          <a:xfrm>
            <a:off x="1109949" y="1115416"/>
            <a:ext cx="2488182" cy="896399"/>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dirty="0"/>
              <a:t>Agenda</a:t>
            </a:r>
          </a:p>
        </p:txBody>
      </p:sp>
    </p:spTree>
    <p:extLst>
      <p:ext uri="{BB962C8B-B14F-4D97-AF65-F5344CB8AC3E}">
        <p14:creationId xmlns:p14="http://schemas.microsoft.com/office/powerpoint/2010/main" val="93644485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Agenda D. Section Header">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44006171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Trebuchet MS" panose="020B0603020202020204" pitchFamily="34" charset="0"/>
                <a:sym typeface="Trebuchet MS" panose="020B0603020202020204" pitchFamily="34" charset="0"/>
              </a:rPr>
              <a:t>Copyright © 2017 by The Boston Consulting Group, Inc. All rights reserved.</a:t>
            </a:r>
          </a:p>
        </p:txBody>
      </p:sp>
      <p:sp>
        <p:nvSpPr>
          <p:cNvPr id="8" name="Rectangle 7"/>
          <p:cNvSpPr/>
          <p:nvPr userDrawn="1"/>
        </p:nvSpPr>
        <p:spPr bwMode="white">
          <a:xfrm>
            <a:off x="1284743" y="1428131"/>
            <a:ext cx="947672" cy="947672"/>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Trebuchet MS" panose="020B0603020202020204" pitchFamily="34" charset="0"/>
              <a:sym typeface="Trebuchet MS" panose="020B0603020202020204" pitchFamily="34" charset="0"/>
            </a:endParaRPr>
          </a:p>
        </p:txBody>
      </p:sp>
      <p:sp>
        <p:nvSpPr>
          <p:cNvPr id="10" name="Rectangle 9"/>
          <p:cNvSpPr/>
          <p:nvPr userDrawn="1"/>
        </p:nvSpPr>
        <p:spPr>
          <a:xfrm>
            <a:off x="1285200" y="2667600"/>
            <a:ext cx="9619200" cy="3200400"/>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a:solidFill>
                <a:prstClr val="white"/>
              </a:solidFill>
              <a:latin typeface="Trebuchet MS" panose="020B0603020202020204" pitchFamily="34" charset="0"/>
            </a:endParaRPr>
          </a:p>
        </p:txBody>
      </p:sp>
    </p:spTree>
    <p:extLst>
      <p:ext uri="{BB962C8B-B14F-4D97-AF65-F5344CB8AC3E}">
        <p14:creationId xmlns:p14="http://schemas.microsoft.com/office/powerpoint/2010/main" val="12739131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Agenda D. Full Width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Trebuchet MS" panose="020B0603020202020204" pitchFamily="34" charset="0"/>
                <a:sym typeface="Trebuchet MS" panose="020B0603020202020204" pitchFamily="34" charset="0"/>
              </a:rPr>
              <a:t>Copyright © 2017 by The Boston Consulting Group, Inc. All rights reserved.</a:t>
            </a:r>
          </a:p>
        </p:txBody>
      </p:sp>
      <p:sp>
        <p:nvSpPr>
          <p:cNvPr id="7"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chemeClr val="accent4"/>
                </a:solidFill>
              </a:rPr>
              <a:t>Agenda</a:t>
            </a:r>
          </a:p>
        </p:txBody>
      </p:sp>
      <p:cxnSp>
        <p:nvCxnSpPr>
          <p:cNvPr id="9" name="Straight Connector 8"/>
          <p:cNvCxnSpPr/>
          <p:nvPr userDrawn="1"/>
        </p:nvCxnSpPr>
        <p:spPr bwMode="white">
          <a:xfrm>
            <a:off x="618898" y="1206000"/>
            <a:ext cx="11576304" cy="0"/>
          </a:xfrm>
          <a:prstGeom prst="line">
            <a:avLst/>
          </a:prstGeom>
          <a:ln w="9525" cmpd="sng">
            <a:solidFill>
              <a:schemeClr val="accent4"/>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060787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userDrawn="1">
  <p:cSld name="Agenda D.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2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1"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Slide examples_Killer slides_Final.pptx</a:t>
            </a:r>
            <a:endParaRPr lang="en-US" sz="700" dirty="0">
              <a:solidFill>
                <a:schemeClr val="bg1">
                  <a:lumMod val="50000"/>
                </a:schemeClr>
              </a:solidFill>
              <a:latin typeface="+mn-lt"/>
              <a:sym typeface="Trebuchet MS" panose="020B0603020202020204" pitchFamily="34" charset="0"/>
            </a:endParaRPr>
          </a:p>
        </p:txBody>
      </p:sp>
      <p:sp>
        <p:nvSpPr>
          <p:cNvPr id="10" name="TextBox 9"/>
          <p:cNvSpPr txBox="1"/>
          <p:nvPr userDrawn="1"/>
        </p:nvSpPr>
        <p:spPr>
          <a:xfrm>
            <a:off x="630000" y="3262145"/>
            <a:ext cx="1161047" cy="332399"/>
          </a:xfrm>
          <a:prstGeom prst="rect">
            <a:avLst/>
          </a:prstGeom>
          <a:noFill/>
        </p:spPr>
        <p:txBody>
          <a:bodyPr wrap="square" lIns="0" tIns="0" rIns="0" bIns="0" rtlCol="0" anchor="t">
            <a:spAutoFit/>
          </a:bodyPr>
          <a:lstStyle/>
          <a:p>
            <a:pPr>
              <a:lnSpc>
                <a:spcPct val="90000"/>
              </a:lnSpc>
              <a:spcAft>
                <a:spcPts val="600"/>
              </a:spcAft>
            </a:pPr>
            <a:r>
              <a:rPr lang="en-US" sz="2400" dirty="0">
                <a:solidFill>
                  <a:schemeClr val="bg1"/>
                </a:solidFill>
              </a:rPr>
              <a:t>Agenda</a:t>
            </a:r>
          </a:p>
        </p:txBody>
      </p:sp>
    </p:spTree>
    <p:extLst>
      <p:ext uri="{BB962C8B-B14F-4D97-AF65-F5344CB8AC3E}">
        <p14:creationId xmlns:p14="http://schemas.microsoft.com/office/powerpoint/2010/main" val="295433072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preserve="1" userDrawn="1">
  <p:cSld name="Agenda 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12"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108638" y="3594368"/>
            <a:ext cx="1365250" cy="3382962"/>
          </a:xfrm>
          <a:prstGeom prst="rect">
            <a:avLst/>
          </a:prstGeom>
          <a:noFill/>
          <a:extLst>
            <a:ext uri="{909E8E84-426E-40DD-AFC4-6F175D3DCCD1}">
              <a14:hiddenFill xmlns:a14="http://schemas.microsoft.com/office/drawing/2010/main">
                <a:solidFill>
                  <a:srgbClr val="FFFFFF"/>
                </a:solidFill>
              </a14:hiddenFill>
            </a:ext>
          </a:extLst>
        </p:spPr>
      </p:pic>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Trebuchet MS" panose="020B0603020202020204" pitchFamily="34" charset="0"/>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Trebuchet MS" panose="020B0603020202020204" pitchFamily="34" charset="0"/>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chemeClr val="tx2"/>
                </a:solidFill>
                <a:latin typeface="Trebuchet MS" panose="020B0603020202020204" pitchFamily="34" charset="0"/>
                <a:sym typeface="Trebuchet MS" panose="020B0603020202020204" pitchFamily="34" charset="0"/>
              </a:rPr>
              <a:t>Table of contents</a:t>
            </a:r>
          </a:p>
        </p:txBody>
      </p:sp>
      <p:sp>
        <p:nvSpPr>
          <p:cNvPr id="2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Trebuchet MS" panose="020B0603020202020204" pitchFamily="34" charset="0"/>
                <a:sym typeface="Trebuchet MS" panose="020B0603020202020204" pitchFamily="34" charset="0"/>
              </a:rPr>
              <a:t>Copyright © 2017 by The Boston Consulting Group, Inc. All rights reserved.</a:t>
            </a: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Tree>
    <p:extLst>
      <p:ext uri="{BB962C8B-B14F-4D97-AF65-F5344CB8AC3E}">
        <p14:creationId xmlns:p14="http://schemas.microsoft.com/office/powerpoint/2010/main" val="111727488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userDrawn="1">
  <p:cSld name="1_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cstate="print">
            <a:extLst>
              <a:ext uri="{28A0092B-C50C-407E-A947-70E740481C1C}">
                <a14:useLocalDpi xmlns:a14="http://schemas.microsoft.com/office/drawing/2010/main"/>
              </a:ext>
            </a:extLst>
          </a:blip>
          <a:srcRect l="29398" t="8741" r="101" b="27"/>
          <a:stretch/>
        </p:blipFill>
        <p:spPr bwMode="ltGray">
          <a:xfrm flipV="1">
            <a:off x="7165606" y="0"/>
            <a:ext cx="416951" cy="6858000"/>
          </a:xfrm>
          <a:prstGeom prst="rect">
            <a:avLst/>
          </a:prstGeom>
        </p:spPr>
      </p:pic>
      <p:sp>
        <p:nvSpPr>
          <p:cNvPr id="13" name="Rectangle 12"/>
          <p:cNvSpPr/>
          <p:nvPr userDrawn="1"/>
        </p:nvSpPr>
        <p:spPr bwMode="white">
          <a:xfrm>
            <a:off x="0" y="0"/>
            <a:ext cx="7171956"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Trebuchet MS" panose="020B0603020202020204" pitchFamily="34" charset="0"/>
              <a:sym typeface="Trebuchet MS" panose="020B0603020202020204" pitchFamily="34" charset="0"/>
            </a:endParaRPr>
          </a:p>
        </p:txBody>
      </p:sp>
      <p:sp>
        <p:nvSpPr>
          <p:cNvPr id="16"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Trebuchet MS" panose="020B0603020202020204" pitchFamily="34" charset="0"/>
                <a:sym typeface="Trebuchet MS" panose="020B0603020202020204" pitchFamily="34" charset="0"/>
              </a:defRPr>
            </a:lvl1pPr>
          </a:lstStyle>
          <a:p>
            <a:endParaRPr lang="en-US" dirty="0"/>
          </a:p>
        </p:txBody>
      </p:sp>
      <p:sp>
        <p:nvSpPr>
          <p:cNvPr id="2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Trebuchet MS" panose="020B0603020202020204" pitchFamily="34" charset="0"/>
                <a:sym typeface="Trebuchet MS" panose="020B0603020202020204" pitchFamily="34" charset="0"/>
              </a:rPr>
              <a:t>Copyright © 2017 by The Boston Consulting Group, Inc. All rights reserved.</a:t>
            </a:r>
          </a:p>
        </p:txBody>
      </p:sp>
      <p:sp>
        <p:nvSpPr>
          <p:cNvPr id="17" name="TextBox 16"/>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23" name="Title 3"/>
          <p:cNvSpPr>
            <a:spLocks noGrp="1"/>
          </p:cNvSpPr>
          <p:nvPr>
            <p:ph type="title"/>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Trebuchet MS" panose="020B0603020202020204" pitchFamily="34" charset="0"/>
                <a:sym typeface="Trebuchet MS" panose="020B0603020202020204" pitchFamily="34" charset="0"/>
              </a:defRPr>
            </a:lvl1pPr>
          </a:lstStyle>
          <a:p>
            <a:pPr lvl="0"/>
            <a:r>
              <a:rPr lang="en-US" dirty="0"/>
              <a:t>Click to edit Master title style</a:t>
            </a:r>
          </a:p>
        </p:txBody>
      </p:sp>
      <p:sp>
        <p:nvSpPr>
          <p:cNvPr id="11" name="FooterSimple"/>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Slide examples_Killer slides_Final.pptx</a:t>
            </a:r>
            <a:endParaRPr lang="en-US" sz="700" dirty="0">
              <a:solidFill>
                <a:schemeClr val="bg1"/>
              </a:solidFill>
              <a:latin typeface="Trebuchet MS" panose="020B0603020202020204" pitchFamily="34" charset="0"/>
              <a:sym typeface="Trebuchet MS" panose="020B0603020202020204" pitchFamily="34" charset="0"/>
            </a:endParaRPr>
          </a:p>
        </p:txBody>
      </p:sp>
    </p:spTree>
    <p:extLst>
      <p:ext uri="{BB962C8B-B14F-4D97-AF65-F5344CB8AC3E}">
        <p14:creationId xmlns:p14="http://schemas.microsoft.com/office/powerpoint/2010/main" val="122251339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p:cSld name="Quote box">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2" hasCustomPrompt="1"/>
          </p:nvPr>
        </p:nvSpPr>
        <p:spPr>
          <a:xfrm>
            <a:off x="1247775" y="2067919"/>
            <a:ext cx="9665296" cy="3026664"/>
          </a:xfrm>
          <a:ln>
            <a:solidFill>
              <a:schemeClr val="bg1"/>
            </a:solidFill>
          </a:ln>
        </p:spPr>
        <p:txBody>
          <a:bodyPr lIns="182880" tIns="182880" rIns="182880" bIns="182880" anchor="ctr">
            <a:normAutofit/>
          </a:bodyPr>
          <a:lstStyle>
            <a:lvl1pPr>
              <a:lnSpc>
                <a:spcPct val="110000"/>
              </a:lnSpc>
              <a:buNone/>
              <a:defRPr sz="4400">
                <a:solidFill>
                  <a:schemeClr val="bg1"/>
                </a:solidFill>
              </a:defRPr>
            </a:lvl1pPr>
            <a:lvl2pPr marL="0" indent="0">
              <a:buNone/>
              <a:defRPr/>
            </a:lvl2pPr>
            <a:lvl3pPr marL="220154" indent="0">
              <a:buNone/>
              <a:defRPr/>
            </a:lvl3pPr>
            <a:lvl4pPr>
              <a:buNone/>
              <a:defRPr/>
            </a:lvl4pPr>
            <a:lvl5pPr marL="457200" indent="0">
              <a:buNone/>
              <a:defRPr/>
            </a:lvl5pPr>
          </a:lstStyle>
          <a:p>
            <a:pPr lvl="0"/>
            <a:r>
              <a:rPr lang="en-US" dirty="0"/>
              <a:t>Click </a:t>
            </a:r>
            <a:r>
              <a:rPr lang="en-US"/>
              <a:t>to add a quote</a:t>
            </a:r>
            <a:endParaRPr lang="en-US" dirty="0"/>
          </a:p>
        </p:txBody>
      </p:sp>
      <p:sp>
        <p:nvSpPr>
          <p:cNvPr id="15" name="Text Placeholder 14"/>
          <p:cNvSpPr>
            <a:spLocks noGrp="1"/>
          </p:cNvSpPr>
          <p:nvPr>
            <p:ph type="body" sz="quarter" idx="11" hasCustomPrompt="1"/>
          </p:nvPr>
        </p:nvSpPr>
        <p:spPr>
          <a:xfrm>
            <a:off x="4368800" y="5278438"/>
            <a:ext cx="4967288" cy="877361"/>
          </a:xfrm>
          <a:ln w="9525">
            <a:solidFill>
              <a:schemeClr val="bg1"/>
            </a:solidFill>
          </a:ln>
        </p:spPr>
        <p:txBody>
          <a:bodyPr lIns="274320" tIns="0" rIns="274320" bIns="0" anchor="ctr">
            <a:normAutofit/>
          </a:bodyPr>
          <a:lstStyle>
            <a:lvl1pPr>
              <a:buNone/>
              <a:defRPr sz="2000">
                <a:solidFill>
                  <a:schemeClr val="bg1"/>
                </a:solidFill>
              </a:defRPr>
            </a:lvl1pPr>
            <a:lvl2pPr>
              <a:buNone/>
              <a:defRPr/>
            </a:lvl2pPr>
            <a:lvl3pPr marL="0" indent="0">
              <a:buNone/>
              <a:defRPr/>
            </a:lvl3pPr>
            <a:lvl4pPr marL="228600" indent="0">
              <a:buNone/>
              <a:defRPr/>
            </a:lvl4pPr>
            <a:lvl5pPr marL="457200" indent="0">
              <a:buNone/>
              <a:defRPr/>
            </a:lvl5pPr>
          </a:lstStyle>
          <a:p>
            <a:pPr lvl="0"/>
            <a:r>
              <a:rPr lang="en-US" dirty="0"/>
              <a:t>Click to add a quote source</a:t>
            </a:r>
          </a:p>
        </p:txBody>
      </p:sp>
      <p:grpSp>
        <p:nvGrpSpPr>
          <p:cNvPr id="19" name="Group 18"/>
          <p:cNvGrpSpPr/>
          <p:nvPr/>
        </p:nvGrpSpPr>
        <p:grpSpPr bwMode="black">
          <a:xfrm>
            <a:off x="2226051" y="875856"/>
            <a:ext cx="924043" cy="990201"/>
            <a:chOff x="3854826" y="875856"/>
            <a:chExt cx="924043" cy="990201"/>
          </a:xfrm>
        </p:grpSpPr>
        <p:sp>
          <p:nvSpPr>
            <p:cNvPr id="20" name="Freeform 5"/>
            <p:cNvSpPr>
              <a:spLocks noEditPoints="1"/>
            </p:cNvSpPr>
            <p:nvPr/>
          </p:nvSpPr>
          <p:spPr bwMode="black">
            <a:xfrm>
              <a:off x="4142657" y="1239077"/>
              <a:ext cx="348380" cy="263758"/>
            </a:xfrm>
            <a:custGeom>
              <a:avLst/>
              <a:gdLst>
                <a:gd name="T0" fmla="*/ 101 w 266"/>
                <a:gd name="T1" fmla="*/ 153 h 200"/>
                <a:gd name="T2" fmla="*/ 90 w 266"/>
                <a:gd name="T3" fmla="*/ 185 h 200"/>
                <a:gd name="T4" fmla="*/ 54 w 266"/>
                <a:gd name="T5" fmla="*/ 200 h 200"/>
                <a:gd name="T6" fmla="*/ 14 w 266"/>
                <a:gd name="T7" fmla="*/ 181 h 200"/>
                <a:gd name="T8" fmla="*/ 0 w 266"/>
                <a:gd name="T9" fmla="*/ 126 h 200"/>
                <a:gd name="T10" fmla="*/ 9 w 266"/>
                <a:gd name="T11" fmla="*/ 80 h 200"/>
                <a:gd name="T12" fmla="*/ 34 w 266"/>
                <a:gd name="T13" fmla="*/ 44 h 200"/>
                <a:gd name="T14" fmla="*/ 71 w 266"/>
                <a:gd name="T15" fmla="*/ 17 h 200"/>
                <a:gd name="T16" fmla="*/ 114 w 266"/>
                <a:gd name="T17" fmla="*/ 0 h 200"/>
                <a:gd name="T18" fmla="*/ 126 w 266"/>
                <a:gd name="T19" fmla="*/ 24 h 200"/>
                <a:gd name="T20" fmla="*/ 68 w 266"/>
                <a:gd name="T21" fmla="*/ 56 h 200"/>
                <a:gd name="T22" fmla="*/ 46 w 266"/>
                <a:gd name="T23" fmla="*/ 109 h 200"/>
                <a:gd name="T24" fmla="*/ 47 w 266"/>
                <a:gd name="T25" fmla="*/ 109 h 200"/>
                <a:gd name="T26" fmla="*/ 86 w 266"/>
                <a:gd name="T27" fmla="*/ 118 h 200"/>
                <a:gd name="T28" fmla="*/ 101 w 266"/>
                <a:gd name="T29" fmla="*/ 153 h 200"/>
                <a:gd name="T30" fmla="*/ 241 w 266"/>
                <a:gd name="T31" fmla="*/ 153 h 200"/>
                <a:gd name="T32" fmla="*/ 230 w 266"/>
                <a:gd name="T33" fmla="*/ 185 h 200"/>
                <a:gd name="T34" fmla="*/ 194 w 266"/>
                <a:gd name="T35" fmla="*/ 200 h 200"/>
                <a:gd name="T36" fmla="*/ 154 w 266"/>
                <a:gd name="T37" fmla="*/ 181 h 200"/>
                <a:gd name="T38" fmla="*/ 140 w 266"/>
                <a:gd name="T39" fmla="*/ 126 h 200"/>
                <a:gd name="T40" fmla="*/ 149 w 266"/>
                <a:gd name="T41" fmla="*/ 80 h 200"/>
                <a:gd name="T42" fmla="*/ 174 w 266"/>
                <a:gd name="T43" fmla="*/ 44 h 200"/>
                <a:gd name="T44" fmla="*/ 210 w 266"/>
                <a:gd name="T45" fmla="*/ 17 h 200"/>
                <a:gd name="T46" fmla="*/ 254 w 266"/>
                <a:gd name="T47" fmla="*/ 0 h 200"/>
                <a:gd name="T48" fmla="*/ 266 w 266"/>
                <a:gd name="T49" fmla="*/ 24 h 200"/>
                <a:gd name="T50" fmla="*/ 208 w 266"/>
                <a:gd name="T51" fmla="*/ 56 h 200"/>
                <a:gd name="T52" fmla="*/ 185 w 266"/>
                <a:gd name="T53" fmla="*/ 109 h 200"/>
                <a:gd name="T54" fmla="*/ 187 w 266"/>
                <a:gd name="T55" fmla="*/ 109 h 200"/>
                <a:gd name="T56" fmla="*/ 226 w 266"/>
                <a:gd name="T57" fmla="*/ 118 h 200"/>
                <a:gd name="T58" fmla="*/ 241 w 266"/>
                <a:gd name="T59" fmla="*/ 153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66" h="200">
                  <a:moveTo>
                    <a:pt x="101" y="153"/>
                  </a:moveTo>
                  <a:cubicBezTo>
                    <a:pt x="101" y="164"/>
                    <a:pt x="98" y="175"/>
                    <a:pt x="90" y="185"/>
                  </a:cubicBezTo>
                  <a:cubicBezTo>
                    <a:pt x="83" y="195"/>
                    <a:pt x="71" y="200"/>
                    <a:pt x="54" y="200"/>
                  </a:cubicBezTo>
                  <a:cubicBezTo>
                    <a:pt x="37" y="200"/>
                    <a:pt x="24" y="193"/>
                    <a:pt x="14" y="181"/>
                  </a:cubicBezTo>
                  <a:cubicBezTo>
                    <a:pt x="5" y="168"/>
                    <a:pt x="0" y="150"/>
                    <a:pt x="0" y="126"/>
                  </a:cubicBezTo>
                  <a:cubicBezTo>
                    <a:pt x="0" y="109"/>
                    <a:pt x="3" y="94"/>
                    <a:pt x="9" y="80"/>
                  </a:cubicBezTo>
                  <a:cubicBezTo>
                    <a:pt x="15" y="66"/>
                    <a:pt x="24" y="54"/>
                    <a:pt x="34" y="44"/>
                  </a:cubicBezTo>
                  <a:cubicBezTo>
                    <a:pt x="45" y="33"/>
                    <a:pt x="57" y="24"/>
                    <a:pt x="71" y="17"/>
                  </a:cubicBezTo>
                  <a:cubicBezTo>
                    <a:pt x="84" y="9"/>
                    <a:pt x="99" y="4"/>
                    <a:pt x="114" y="0"/>
                  </a:cubicBezTo>
                  <a:cubicBezTo>
                    <a:pt x="126" y="24"/>
                    <a:pt x="126" y="24"/>
                    <a:pt x="126" y="24"/>
                  </a:cubicBezTo>
                  <a:cubicBezTo>
                    <a:pt x="103" y="32"/>
                    <a:pt x="84" y="43"/>
                    <a:pt x="68" y="56"/>
                  </a:cubicBezTo>
                  <a:cubicBezTo>
                    <a:pt x="53" y="70"/>
                    <a:pt x="46" y="88"/>
                    <a:pt x="46" y="109"/>
                  </a:cubicBezTo>
                  <a:cubicBezTo>
                    <a:pt x="47" y="109"/>
                    <a:pt x="47" y="109"/>
                    <a:pt x="47" y="109"/>
                  </a:cubicBezTo>
                  <a:cubicBezTo>
                    <a:pt x="63" y="109"/>
                    <a:pt x="76" y="112"/>
                    <a:pt x="86" y="118"/>
                  </a:cubicBezTo>
                  <a:cubicBezTo>
                    <a:pt x="96" y="125"/>
                    <a:pt x="101" y="136"/>
                    <a:pt x="101" y="153"/>
                  </a:cubicBezTo>
                  <a:close/>
                  <a:moveTo>
                    <a:pt x="241" y="153"/>
                  </a:moveTo>
                  <a:cubicBezTo>
                    <a:pt x="241" y="164"/>
                    <a:pt x="238" y="175"/>
                    <a:pt x="230" y="185"/>
                  </a:cubicBezTo>
                  <a:cubicBezTo>
                    <a:pt x="223" y="195"/>
                    <a:pt x="211" y="200"/>
                    <a:pt x="194" y="200"/>
                  </a:cubicBezTo>
                  <a:cubicBezTo>
                    <a:pt x="177" y="200"/>
                    <a:pt x="164" y="193"/>
                    <a:pt x="154" y="181"/>
                  </a:cubicBezTo>
                  <a:cubicBezTo>
                    <a:pt x="144" y="168"/>
                    <a:pt x="140" y="150"/>
                    <a:pt x="140" y="126"/>
                  </a:cubicBezTo>
                  <a:cubicBezTo>
                    <a:pt x="140" y="109"/>
                    <a:pt x="143" y="94"/>
                    <a:pt x="149" y="80"/>
                  </a:cubicBezTo>
                  <a:cubicBezTo>
                    <a:pt x="155" y="66"/>
                    <a:pt x="163" y="54"/>
                    <a:pt x="174" y="44"/>
                  </a:cubicBezTo>
                  <a:cubicBezTo>
                    <a:pt x="184" y="33"/>
                    <a:pt x="197" y="24"/>
                    <a:pt x="210" y="17"/>
                  </a:cubicBezTo>
                  <a:cubicBezTo>
                    <a:pt x="224" y="9"/>
                    <a:pt x="239" y="4"/>
                    <a:pt x="254" y="0"/>
                  </a:cubicBezTo>
                  <a:cubicBezTo>
                    <a:pt x="266" y="24"/>
                    <a:pt x="266" y="24"/>
                    <a:pt x="266" y="24"/>
                  </a:cubicBezTo>
                  <a:cubicBezTo>
                    <a:pt x="243" y="32"/>
                    <a:pt x="223" y="43"/>
                    <a:pt x="208" y="56"/>
                  </a:cubicBezTo>
                  <a:cubicBezTo>
                    <a:pt x="193" y="70"/>
                    <a:pt x="185" y="88"/>
                    <a:pt x="185" y="109"/>
                  </a:cubicBezTo>
                  <a:cubicBezTo>
                    <a:pt x="187" y="109"/>
                    <a:pt x="187" y="109"/>
                    <a:pt x="187" y="109"/>
                  </a:cubicBezTo>
                  <a:cubicBezTo>
                    <a:pt x="202" y="109"/>
                    <a:pt x="215" y="112"/>
                    <a:pt x="226" y="118"/>
                  </a:cubicBezTo>
                  <a:cubicBezTo>
                    <a:pt x="236" y="125"/>
                    <a:pt x="241" y="136"/>
                    <a:pt x="241" y="153"/>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solidFill>
                  <a:srgbClr val="575757"/>
                </a:solidFill>
              </a:endParaRPr>
            </a:p>
          </p:txBody>
        </p:sp>
        <p:sp>
          <p:nvSpPr>
            <p:cNvPr id="21" name="Rectangle 20"/>
            <p:cNvSpPr/>
            <p:nvPr/>
          </p:nvSpPr>
          <p:spPr bwMode="black">
            <a:xfrm>
              <a:off x="3854826" y="875856"/>
              <a:ext cx="924043" cy="990201"/>
            </a:xfrm>
            <a:prstGeom prst="rect">
              <a:avLst/>
            </a:prstGeom>
            <a:noFill/>
            <a:ln w="12700">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endParaRPr lang="en-US" sz="2000">
                <a:solidFill>
                  <a:prstClr val="white"/>
                </a:solidFill>
              </a:endParaRPr>
            </a:p>
          </p:txBody>
        </p:sp>
      </p:grpSp>
      <p:sp>
        <p:nvSpPr>
          <p:cNvPr id="7" name="TextBox 6"/>
          <p:cNvSpPr txBox="1"/>
          <p:nvPr/>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rPr>
              <a:pPr algn="r">
                <a:defRPr/>
              </a:pPr>
              <a:t>‹#›</a:t>
            </a:fld>
            <a:endParaRPr lang="en-US" sz="1000">
              <a:solidFill>
                <a:prstClr val="white"/>
              </a:solidFill>
            </a:endParaRPr>
          </a:p>
        </p:txBody>
      </p:sp>
    </p:spTree>
    <p:extLst>
      <p:ext uri="{BB962C8B-B14F-4D97-AF65-F5344CB8AC3E}">
        <p14:creationId xmlns:p14="http://schemas.microsoft.com/office/powerpoint/2010/main" val="9424892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A02DEA4-9886-854F-326A-238955FEFEDE}"/>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4ABC3215-E49F-29C1-E11E-44274105979E}"/>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8A15A745-58E8-426C-EA87-B4FDEBB59650}"/>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4144DA21-BBC3-D94A-A576-41A552AC0242}"/>
              </a:ext>
            </a:extLst>
          </p:cNvPr>
          <p:cNvSpPr>
            <a:spLocks noGrp="1"/>
          </p:cNvSpPr>
          <p:nvPr>
            <p:ph type="dt" sz="half" idx="10"/>
          </p:nvPr>
        </p:nvSpPr>
        <p:spPr/>
        <p:txBody>
          <a:bodyPr/>
          <a:lstStyle/>
          <a:p>
            <a:fld id="{DCAFD43A-663F-4A92-A292-D8EDA73F00B6}" type="datetimeFigureOut">
              <a:rPr lang="en-US" smtClean="0"/>
              <a:t>4/4/2023</a:t>
            </a:fld>
            <a:endParaRPr lang="en-US"/>
          </a:p>
        </p:txBody>
      </p:sp>
      <p:sp>
        <p:nvSpPr>
          <p:cNvPr id="6" name="Footer Placeholder 5">
            <a:extLst>
              <a:ext uri="{FF2B5EF4-FFF2-40B4-BE49-F238E27FC236}">
                <a16:creationId xmlns:a16="http://schemas.microsoft.com/office/drawing/2014/main" id="{F93B7128-A83F-A92D-09D5-EDDC1217D6F2}"/>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57BE331C-CF53-B2F6-E61E-D56A09C82763}"/>
              </a:ext>
            </a:extLst>
          </p:cNvPr>
          <p:cNvSpPr>
            <a:spLocks noGrp="1"/>
          </p:cNvSpPr>
          <p:nvPr>
            <p:ph type="sldNum" sz="quarter" idx="12"/>
          </p:nvPr>
        </p:nvSpPr>
        <p:spPr/>
        <p:txBody>
          <a:bodyPr/>
          <a:lstStyle/>
          <a:p>
            <a:fld id="{2EE30602-477F-49EB-9371-72C7D77D4B6F}" type="slidenum">
              <a:rPr lang="en-US" smtClean="0"/>
              <a:t>‹#›</a:t>
            </a:fld>
            <a:endParaRPr lang="en-US"/>
          </a:p>
        </p:txBody>
      </p:sp>
    </p:spTree>
    <p:extLst>
      <p:ext uri="{BB962C8B-B14F-4D97-AF65-F5344CB8AC3E}">
        <p14:creationId xmlns:p14="http://schemas.microsoft.com/office/powerpoint/2010/main" val="22798076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3BFF61D-978B-76D4-E2AB-8371440EEE51}"/>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D9104759-491C-2EB2-A688-825AC7B03BAD}"/>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15C59421-09B5-12D1-5A89-AC853419BAD0}"/>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2AB20C85-8992-A711-051A-7641F6830407}"/>
              </a:ext>
            </a:extLst>
          </p:cNvPr>
          <p:cNvSpPr>
            <a:spLocks noGrp="1"/>
          </p:cNvSpPr>
          <p:nvPr>
            <p:ph type="dt" sz="half" idx="10"/>
          </p:nvPr>
        </p:nvSpPr>
        <p:spPr/>
        <p:txBody>
          <a:bodyPr/>
          <a:lstStyle/>
          <a:p>
            <a:fld id="{DCAFD43A-663F-4A92-A292-D8EDA73F00B6}" type="datetimeFigureOut">
              <a:rPr lang="en-US" smtClean="0"/>
              <a:t>4/4/2023</a:t>
            </a:fld>
            <a:endParaRPr lang="en-US"/>
          </a:p>
        </p:txBody>
      </p:sp>
      <p:sp>
        <p:nvSpPr>
          <p:cNvPr id="6" name="Footer Placeholder 5">
            <a:extLst>
              <a:ext uri="{FF2B5EF4-FFF2-40B4-BE49-F238E27FC236}">
                <a16:creationId xmlns:a16="http://schemas.microsoft.com/office/drawing/2014/main" id="{CD81FE2F-7D38-5AA4-AF06-F4A11ED6B4B1}"/>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14B2EF38-7FCB-9DDF-DDDD-777564E0EDF3}"/>
              </a:ext>
            </a:extLst>
          </p:cNvPr>
          <p:cNvSpPr>
            <a:spLocks noGrp="1"/>
          </p:cNvSpPr>
          <p:nvPr>
            <p:ph type="sldNum" sz="quarter" idx="12"/>
          </p:nvPr>
        </p:nvSpPr>
        <p:spPr/>
        <p:txBody>
          <a:bodyPr/>
          <a:lstStyle/>
          <a:p>
            <a:fld id="{2EE30602-477F-49EB-9371-72C7D77D4B6F}" type="slidenum">
              <a:rPr lang="en-US" smtClean="0"/>
              <a:t>‹#›</a:t>
            </a:fld>
            <a:endParaRPr lang="en-US"/>
          </a:p>
        </p:txBody>
      </p:sp>
    </p:spTree>
    <p:extLst>
      <p:ext uri="{BB962C8B-B14F-4D97-AF65-F5344CB8AC3E}">
        <p14:creationId xmlns:p14="http://schemas.microsoft.com/office/powerpoint/2010/main" val="150487949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26" Type="http://schemas.openxmlformats.org/officeDocument/2006/relationships/slideLayout" Target="../slideLayouts/slideLayout37.xml"/><Relationship Id="rId21" Type="http://schemas.openxmlformats.org/officeDocument/2006/relationships/slideLayout" Target="../slideLayouts/slideLayout32.xml"/><Relationship Id="rId42" Type="http://schemas.openxmlformats.org/officeDocument/2006/relationships/slideLayout" Target="../slideLayouts/slideLayout53.xml"/><Relationship Id="rId47" Type="http://schemas.openxmlformats.org/officeDocument/2006/relationships/slideLayout" Target="../slideLayouts/slideLayout58.xml"/><Relationship Id="rId63" Type="http://schemas.openxmlformats.org/officeDocument/2006/relationships/slideLayout" Target="../slideLayouts/slideLayout74.xml"/><Relationship Id="rId68" Type="http://schemas.openxmlformats.org/officeDocument/2006/relationships/theme" Target="../theme/theme2.xml"/><Relationship Id="rId7" Type="http://schemas.openxmlformats.org/officeDocument/2006/relationships/slideLayout" Target="../slideLayouts/slideLayout18.xml"/><Relationship Id="rId71" Type="http://schemas.openxmlformats.org/officeDocument/2006/relationships/image" Target="../media/image1.emf"/><Relationship Id="rId2" Type="http://schemas.openxmlformats.org/officeDocument/2006/relationships/slideLayout" Target="../slideLayouts/slideLayout13.xml"/><Relationship Id="rId16" Type="http://schemas.openxmlformats.org/officeDocument/2006/relationships/slideLayout" Target="../slideLayouts/slideLayout27.xml"/><Relationship Id="rId29" Type="http://schemas.openxmlformats.org/officeDocument/2006/relationships/slideLayout" Target="../slideLayouts/slideLayout40.xml"/><Relationship Id="rId11" Type="http://schemas.openxmlformats.org/officeDocument/2006/relationships/slideLayout" Target="../slideLayouts/slideLayout22.xml"/><Relationship Id="rId24" Type="http://schemas.openxmlformats.org/officeDocument/2006/relationships/slideLayout" Target="../slideLayouts/slideLayout35.xml"/><Relationship Id="rId32" Type="http://schemas.openxmlformats.org/officeDocument/2006/relationships/slideLayout" Target="../slideLayouts/slideLayout43.xml"/><Relationship Id="rId37" Type="http://schemas.openxmlformats.org/officeDocument/2006/relationships/slideLayout" Target="../slideLayouts/slideLayout48.xml"/><Relationship Id="rId40" Type="http://schemas.openxmlformats.org/officeDocument/2006/relationships/slideLayout" Target="../slideLayouts/slideLayout51.xml"/><Relationship Id="rId45" Type="http://schemas.openxmlformats.org/officeDocument/2006/relationships/slideLayout" Target="../slideLayouts/slideLayout56.xml"/><Relationship Id="rId53" Type="http://schemas.openxmlformats.org/officeDocument/2006/relationships/slideLayout" Target="../slideLayouts/slideLayout64.xml"/><Relationship Id="rId58" Type="http://schemas.openxmlformats.org/officeDocument/2006/relationships/slideLayout" Target="../slideLayouts/slideLayout69.xml"/><Relationship Id="rId66" Type="http://schemas.openxmlformats.org/officeDocument/2006/relationships/slideLayout" Target="../slideLayouts/slideLayout77.xml"/><Relationship Id="rId5" Type="http://schemas.openxmlformats.org/officeDocument/2006/relationships/slideLayout" Target="../slideLayouts/slideLayout16.xml"/><Relationship Id="rId61" Type="http://schemas.openxmlformats.org/officeDocument/2006/relationships/slideLayout" Target="../slideLayouts/slideLayout72.xml"/><Relationship Id="rId19" Type="http://schemas.openxmlformats.org/officeDocument/2006/relationships/slideLayout" Target="../slideLayouts/slideLayout30.xml"/><Relationship Id="rId14" Type="http://schemas.openxmlformats.org/officeDocument/2006/relationships/slideLayout" Target="../slideLayouts/slideLayout25.xml"/><Relationship Id="rId22" Type="http://schemas.openxmlformats.org/officeDocument/2006/relationships/slideLayout" Target="../slideLayouts/slideLayout33.xml"/><Relationship Id="rId27" Type="http://schemas.openxmlformats.org/officeDocument/2006/relationships/slideLayout" Target="../slideLayouts/slideLayout38.xml"/><Relationship Id="rId30" Type="http://schemas.openxmlformats.org/officeDocument/2006/relationships/slideLayout" Target="../slideLayouts/slideLayout41.xml"/><Relationship Id="rId35" Type="http://schemas.openxmlformats.org/officeDocument/2006/relationships/slideLayout" Target="../slideLayouts/slideLayout46.xml"/><Relationship Id="rId43" Type="http://schemas.openxmlformats.org/officeDocument/2006/relationships/slideLayout" Target="../slideLayouts/slideLayout54.xml"/><Relationship Id="rId48" Type="http://schemas.openxmlformats.org/officeDocument/2006/relationships/slideLayout" Target="../slideLayouts/slideLayout59.xml"/><Relationship Id="rId56" Type="http://schemas.openxmlformats.org/officeDocument/2006/relationships/slideLayout" Target="../slideLayouts/slideLayout67.xml"/><Relationship Id="rId64" Type="http://schemas.openxmlformats.org/officeDocument/2006/relationships/slideLayout" Target="../slideLayouts/slideLayout75.xml"/><Relationship Id="rId69" Type="http://schemas.openxmlformats.org/officeDocument/2006/relationships/tags" Target="../tags/tag1.xml"/><Relationship Id="rId8" Type="http://schemas.openxmlformats.org/officeDocument/2006/relationships/slideLayout" Target="../slideLayouts/slideLayout19.xml"/><Relationship Id="rId51" Type="http://schemas.openxmlformats.org/officeDocument/2006/relationships/slideLayout" Target="../slideLayouts/slideLayout62.xml"/><Relationship Id="rId3" Type="http://schemas.openxmlformats.org/officeDocument/2006/relationships/slideLayout" Target="../slideLayouts/slideLayout14.xml"/><Relationship Id="rId12" Type="http://schemas.openxmlformats.org/officeDocument/2006/relationships/slideLayout" Target="../slideLayouts/slideLayout23.xml"/><Relationship Id="rId17" Type="http://schemas.openxmlformats.org/officeDocument/2006/relationships/slideLayout" Target="../slideLayouts/slideLayout28.xml"/><Relationship Id="rId25" Type="http://schemas.openxmlformats.org/officeDocument/2006/relationships/slideLayout" Target="../slideLayouts/slideLayout36.xml"/><Relationship Id="rId33" Type="http://schemas.openxmlformats.org/officeDocument/2006/relationships/slideLayout" Target="../slideLayouts/slideLayout44.xml"/><Relationship Id="rId38" Type="http://schemas.openxmlformats.org/officeDocument/2006/relationships/slideLayout" Target="../slideLayouts/slideLayout49.xml"/><Relationship Id="rId46" Type="http://schemas.openxmlformats.org/officeDocument/2006/relationships/slideLayout" Target="../slideLayouts/slideLayout57.xml"/><Relationship Id="rId59" Type="http://schemas.openxmlformats.org/officeDocument/2006/relationships/slideLayout" Target="../slideLayouts/slideLayout70.xml"/><Relationship Id="rId67" Type="http://schemas.openxmlformats.org/officeDocument/2006/relationships/slideLayout" Target="../slideLayouts/slideLayout78.xml"/><Relationship Id="rId20" Type="http://schemas.openxmlformats.org/officeDocument/2006/relationships/slideLayout" Target="../slideLayouts/slideLayout31.xml"/><Relationship Id="rId41" Type="http://schemas.openxmlformats.org/officeDocument/2006/relationships/slideLayout" Target="../slideLayouts/slideLayout52.xml"/><Relationship Id="rId54" Type="http://schemas.openxmlformats.org/officeDocument/2006/relationships/slideLayout" Target="../slideLayouts/slideLayout65.xml"/><Relationship Id="rId62" Type="http://schemas.openxmlformats.org/officeDocument/2006/relationships/slideLayout" Target="../slideLayouts/slideLayout73.xml"/><Relationship Id="rId70" Type="http://schemas.openxmlformats.org/officeDocument/2006/relationships/oleObject" Target="../embeddings/oleObject1.bin"/><Relationship Id="rId1" Type="http://schemas.openxmlformats.org/officeDocument/2006/relationships/slideLayout" Target="../slideLayouts/slideLayout12.xml"/><Relationship Id="rId6" Type="http://schemas.openxmlformats.org/officeDocument/2006/relationships/slideLayout" Target="../slideLayouts/slideLayout17.xml"/><Relationship Id="rId15" Type="http://schemas.openxmlformats.org/officeDocument/2006/relationships/slideLayout" Target="../slideLayouts/slideLayout26.xml"/><Relationship Id="rId23" Type="http://schemas.openxmlformats.org/officeDocument/2006/relationships/slideLayout" Target="../slideLayouts/slideLayout34.xml"/><Relationship Id="rId28" Type="http://schemas.openxmlformats.org/officeDocument/2006/relationships/slideLayout" Target="../slideLayouts/slideLayout39.xml"/><Relationship Id="rId36" Type="http://schemas.openxmlformats.org/officeDocument/2006/relationships/slideLayout" Target="../slideLayouts/slideLayout47.xml"/><Relationship Id="rId49" Type="http://schemas.openxmlformats.org/officeDocument/2006/relationships/slideLayout" Target="../slideLayouts/slideLayout60.xml"/><Relationship Id="rId57" Type="http://schemas.openxmlformats.org/officeDocument/2006/relationships/slideLayout" Target="../slideLayouts/slideLayout68.xml"/><Relationship Id="rId10" Type="http://schemas.openxmlformats.org/officeDocument/2006/relationships/slideLayout" Target="../slideLayouts/slideLayout21.xml"/><Relationship Id="rId31" Type="http://schemas.openxmlformats.org/officeDocument/2006/relationships/slideLayout" Target="../slideLayouts/slideLayout42.xml"/><Relationship Id="rId44" Type="http://schemas.openxmlformats.org/officeDocument/2006/relationships/slideLayout" Target="../slideLayouts/slideLayout55.xml"/><Relationship Id="rId52" Type="http://schemas.openxmlformats.org/officeDocument/2006/relationships/slideLayout" Target="../slideLayouts/slideLayout63.xml"/><Relationship Id="rId60" Type="http://schemas.openxmlformats.org/officeDocument/2006/relationships/slideLayout" Target="../slideLayouts/slideLayout71.xml"/><Relationship Id="rId65" Type="http://schemas.openxmlformats.org/officeDocument/2006/relationships/slideLayout" Target="../slideLayouts/slideLayout76.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3" Type="http://schemas.openxmlformats.org/officeDocument/2006/relationships/slideLayout" Target="../slideLayouts/slideLayout24.xml"/><Relationship Id="rId18" Type="http://schemas.openxmlformats.org/officeDocument/2006/relationships/slideLayout" Target="../slideLayouts/slideLayout29.xml"/><Relationship Id="rId39" Type="http://schemas.openxmlformats.org/officeDocument/2006/relationships/slideLayout" Target="../slideLayouts/slideLayout50.xml"/><Relationship Id="rId34" Type="http://schemas.openxmlformats.org/officeDocument/2006/relationships/slideLayout" Target="../slideLayouts/slideLayout45.xml"/><Relationship Id="rId50" Type="http://schemas.openxmlformats.org/officeDocument/2006/relationships/slideLayout" Target="../slideLayouts/slideLayout61.xml"/><Relationship Id="rId55" Type="http://schemas.openxmlformats.org/officeDocument/2006/relationships/slideLayout" Target="../slideLayouts/slideLayout66.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7FC8CEFD-6DDE-11EE-A1DF-A36CC9CC9781}"/>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7244B0BB-2EF6-D7A6-1CB7-DB5D40767D0C}"/>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1924E55-2CF6-CE67-64F6-1F8AD0DE2C7A}"/>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DCAFD43A-663F-4A92-A292-D8EDA73F00B6}" type="datetimeFigureOut">
              <a:rPr lang="en-US" smtClean="0"/>
              <a:t>4/4/2023</a:t>
            </a:fld>
            <a:endParaRPr lang="en-US"/>
          </a:p>
        </p:txBody>
      </p:sp>
      <p:sp>
        <p:nvSpPr>
          <p:cNvPr id="5" name="Footer Placeholder 4">
            <a:extLst>
              <a:ext uri="{FF2B5EF4-FFF2-40B4-BE49-F238E27FC236}">
                <a16:creationId xmlns:a16="http://schemas.microsoft.com/office/drawing/2014/main" id="{7A512E70-7327-752E-3204-5F64EDFFB3D1}"/>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B696E451-3BB3-BF0B-F05A-C8B9D7A45843}"/>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2EE30602-477F-49EB-9371-72C7D77D4B6F}" type="slidenum">
              <a:rPr lang="en-US" smtClean="0"/>
              <a:t>‹#›</a:t>
            </a:fld>
            <a:endParaRPr lang="en-US"/>
          </a:p>
        </p:txBody>
      </p:sp>
    </p:spTree>
    <p:extLst>
      <p:ext uri="{BB962C8B-B14F-4D97-AF65-F5344CB8AC3E}">
        <p14:creationId xmlns:p14="http://schemas.microsoft.com/office/powerpoint/2010/main" val="1389063342"/>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69"/>
            </p:custDataLst>
            <p:extLst>
              <p:ext uri="{D42A27DB-BD31-4B8C-83A1-F6EECF244321}">
                <p14:modId xmlns:p14="http://schemas.microsoft.com/office/powerpoint/2010/main" val="119414176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70" imgW="270" imgH="270" progId="TCLayout.ActiveDocument.1">
                  <p:embed/>
                </p:oleObj>
              </mc:Choice>
              <mc:Fallback>
                <p:oleObj name="think-cell Slide" r:id="rId70" imgW="270" imgH="270" progId="TCLayout.ActiveDocument.1">
                  <p:embed/>
                  <p:pic>
                    <p:nvPicPr>
                      <p:cNvPr id="2" name="Object 1" hidden="1"/>
                      <p:cNvPicPr/>
                      <p:nvPr/>
                    </p:nvPicPr>
                    <p:blipFill>
                      <a:blip r:embed="rId71"/>
                      <a:stretch>
                        <a:fillRect/>
                      </a:stretch>
                    </p:blipFill>
                    <p:spPr>
                      <a:xfrm>
                        <a:off x="1588" y="1588"/>
                        <a:ext cx="1587" cy="1587"/>
                      </a:xfrm>
                      <a:prstGeom prst="rect">
                        <a:avLst/>
                      </a:prstGeom>
                    </p:spPr>
                  </p:pic>
                </p:oleObj>
              </mc:Fallback>
            </mc:AlternateContent>
          </a:graphicData>
        </a:graphic>
      </p:graphicFrame>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9" name="Title Placeholder 1"/>
          <p:cNvSpPr>
            <a:spLocks noGrp="1"/>
          </p:cNvSpPr>
          <p:nvPr>
            <p:ph type="title"/>
          </p:nvPr>
        </p:nvSpPr>
        <p:spPr>
          <a:xfrm>
            <a:off x="630000" y="622800"/>
            <a:ext cx="10933350" cy="332399"/>
          </a:xfrm>
          <a:prstGeom prst="rect">
            <a:avLst/>
          </a:prstGeom>
        </p:spPr>
        <p:txBody>
          <a:bodyPr vert="horz" wrap="square" lIns="0" tIns="0" rIns="0" bIns="0" rtlCol="0" anchor="t">
            <a:spAutoFit/>
          </a:bodyPr>
          <a:lstStyle/>
          <a:p>
            <a:r>
              <a:rPr lang="en-US" dirty="0"/>
              <a:t>Click to add title</a:t>
            </a:r>
          </a:p>
        </p:txBody>
      </p:sp>
      <p:sp>
        <p:nvSpPr>
          <p:cNvPr id="4" name="Text Placeholder 3"/>
          <p:cNvSpPr>
            <a:spLocks noGrp="1"/>
          </p:cNvSpPr>
          <p:nvPr>
            <p:ph type="body" idx="1"/>
          </p:nvPr>
        </p:nvSpPr>
        <p:spPr>
          <a:xfrm>
            <a:off x="630000" y="1825625"/>
            <a:ext cx="10933350" cy="4351338"/>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Level six</a:t>
            </a:r>
          </a:p>
          <a:p>
            <a:pPr lvl="6"/>
            <a:r>
              <a:rPr lang="en-US" dirty="0"/>
              <a:t>Level seven</a:t>
            </a:r>
          </a:p>
          <a:p>
            <a:pPr lvl="7"/>
            <a:r>
              <a:rPr lang="en-US" dirty="0"/>
              <a:t>Level eight</a:t>
            </a:r>
          </a:p>
          <a:p>
            <a:pPr lvl="8"/>
            <a:r>
              <a:rPr lang="en-US" dirty="0"/>
              <a:t>Level nine</a:t>
            </a:r>
          </a:p>
        </p:txBody>
      </p:sp>
    </p:spTree>
    <p:extLst>
      <p:ext uri="{BB962C8B-B14F-4D97-AF65-F5344CB8AC3E}">
        <p14:creationId xmlns:p14="http://schemas.microsoft.com/office/powerpoint/2010/main" val="2163767920"/>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 id="2147483688" r:id="rId28"/>
    <p:sldLayoutId id="2147483689" r:id="rId29"/>
    <p:sldLayoutId id="2147483690" r:id="rId30"/>
    <p:sldLayoutId id="2147483691" r:id="rId31"/>
    <p:sldLayoutId id="2147483692" r:id="rId32"/>
    <p:sldLayoutId id="2147483693" r:id="rId33"/>
    <p:sldLayoutId id="2147483694" r:id="rId34"/>
    <p:sldLayoutId id="2147483695" r:id="rId35"/>
    <p:sldLayoutId id="2147483696" r:id="rId36"/>
    <p:sldLayoutId id="2147483697" r:id="rId37"/>
    <p:sldLayoutId id="2147483698" r:id="rId38"/>
    <p:sldLayoutId id="2147483699" r:id="rId39"/>
    <p:sldLayoutId id="2147483700" r:id="rId40"/>
    <p:sldLayoutId id="2147483701" r:id="rId41"/>
    <p:sldLayoutId id="2147483702" r:id="rId42"/>
    <p:sldLayoutId id="2147483703" r:id="rId43"/>
    <p:sldLayoutId id="2147483704" r:id="rId44"/>
    <p:sldLayoutId id="2147483705" r:id="rId45"/>
    <p:sldLayoutId id="2147483706" r:id="rId46"/>
    <p:sldLayoutId id="2147483707" r:id="rId47"/>
    <p:sldLayoutId id="2147483708" r:id="rId48"/>
    <p:sldLayoutId id="2147483709" r:id="rId49"/>
    <p:sldLayoutId id="2147483710" r:id="rId50"/>
    <p:sldLayoutId id="2147483711" r:id="rId51"/>
    <p:sldLayoutId id="2147483712" r:id="rId52"/>
    <p:sldLayoutId id="2147483713" r:id="rId53"/>
    <p:sldLayoutId id="2147483714" r:id="rId54"/>
    <p:sldLayoutId id="2147483715" r:id="rId55"/>
    <p:sldLayoutId id="2147483716" r:id="rId56"/>
    <p:sldLayoutId id="2147483717" r:id="rId57"/>
    <p:sldLayoutId id="2147483718" r:id="rId58"/>
    <p:sldLayoutId id="2147483719" r:id="rId59"/>
    <p:sldLayoutId id="2147483720" r:id="rId60"/>
    <p:sldLayoutId id="2147483721" r:id="rId61"/>
    <p:sldLayoutId id="2147483722" r:id="rId62"/>
    <p:sldLayoutId id="2147483723" r:id="rId63"/>
    <p:sldLayoutId id="2147483724" r:id="rId64"/>
    <p:sldLayoutId id="2147483725" r:id="rId65"/>
    <p:sldLayoutId id="2147483726" r:id="rId66"/>
    <p:sldLayoutId id="2147483727" r:id="rId67"/>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914400" rtl="0" eaLnBrk="1" latinLnBrk="0" hangingPunct="1">
        <a:lnSpc>
          <a:spcPct val="90000"/>
        </a:lnSpc>
        <a:spcBef>
          <a:spcPct val="0"/>
        </a:spcBef>
        <a:buNone/>
        <a:defRPr sz="2400" kern="1200">
          <a:solidFill>
            <a:schemeClr val="tx2"/>
          </a:solidFill>
          <a:latin typeface="+mj-lt"/>
          <a:ea typeface="+mj-ea"/>
          <a:cs typeface="+mj-cs"/>
          <a:sym typeface="Trebuchet MS" panose="020B0603020202020204" pitchFamily="34" charset="0"/>
        </a:defRPr>
      </a:lvl1pPr>
    </p:titleStyle>
    <p:body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p15:clr>
            <a:srgbClr val="F26B43"/>
          </p15:clr>
        </p15:guide>
        <p15:guide id="2" pos="396">
          <p15:clr>
            <a:srgbClr val="F26B43"/>
          </p15:clr>
        </p15:guide>
        <p15:guide id="3" pos="7284">
          <p15:clr>
            <a:srgbClr val="F26B43"/>
          </p15:clr>
        </p15:guide>
        <p15:guide id="4" orient="horz" pos="388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1.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Layout" Target="../slideLayouts/slideLayout13.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13.xml"/><Relationship Id="rId7" Type="http://schemas.openxmlformats.org/officeDocument/2006/relationships/image" Target="../media/image9.png"/><Relationship Id="rId2" Type="http://schemas.openxmlformats.org/officeDocument/2006/relationships/tags" Target="../tags/tag70.xml"/><Relationship Id="rId1" Type="http://schemas.openxmlformats.org/officeDocument/2006/relationships/tags" Target="../tags/tag69.xml"/><Relationship Id="rId6" Type="http://schemas.openxmlformats.org/officeDocument/2006/relationships/image" Target="../media/image8.emf"/><Relationship Id="rId5" Type="http://schemas.openxmlformats.org/officeDocument/2006/relationships/oleObject" Target="../embeddings/oleObject12.bin"/><Relationship Id="rId4" Type="http://schemas.openxmlformats.org/officeDocument/2006/relationships/notesSlide" Target="../notesSlides/notesSlide1.xml"/></Relationships>
</file>

<file path=ppt/slides/_rels/slide3.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notesSlide" Target="../notesSlides/notesSlide2.xml"/><Relationship Id="rId7" Type="http://schemas.openxmlformats.org/officeDocument/2006/relationships/image" Target="../media/image11.png"/><Relationship Id="rId2" Type="http://schemas.openxmlformats.org/officeDocument/2006/relationships/slideLayout" Target="../slideLayouts/slideLayout19.xml"/><Relationship Id="rId1" Type="http://schemas.openxmlformats.org/officeDocument/2006/relationships/tags" Target="../tags/tag71.xml"/><Relationship Id="rId6" Type="http://schemas.openxmlformats.org/officeDocument/2006/relationships/image" Target="../media/image10.png"/><Relationship Id="rId5" Type="http://schemas.openxmlformats.org/officeDocument/2006/relationships/image" Target="../media/image8.emf"/><Relationship Id="rId4" Type="http://schemas.openxmlformats.org/officeDocument/2006/relationships/oleObject" Target="../embeddings/oleObject13.bin"/><Relationship Id="rId9" Type="http://schemas.openxmlformats.org/officeDocument/2006/relationships/image" Target="../media/image13.png"/></Relationships>
</file>

<file path=ppt/slides/_rels/slide4.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png"/><Relationship Id="rId1" Type="http://schemas.openxmlformats.org/officeDocument/2006/relationships/slideLayout" Target="../slideLayouts/slideLayout13.xml"/><Relationship Id="rId4" Type="http://schemas.openxmlformats.org/officeDocument/2006/relationships/image" Target="../media/image16.png"/></Relationships>
</file>

<file path=ppt/slides/_rels/slide5.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png"/><Relationship Id="rId1" Type="http://schemas.openxmlformats.org/officeDocument/2006/relationships/slideLayout" Target="../slideLayouts/slideLayout13.xml"/><Relationship Id="rId4" Type="http://schemas.openxmlformats.org/officeDocument/2006/relationships/image" Target="../media/image19.png"/></Relationships>
</file>

<file path=ppt/slides/_rels/slide6.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png"/><Relationship Id="rId1" Type="http://schemas.openxmlformats.org/officeDocument/2006/relationships/slideLayout" Target="../slideLayouts/slideLayout13.xml"/><Relationship Id="rId5" Type="http://schemas.openxmlformats.org/officeDocument/2006/relationships/image" Target="../media/image23.png"/><Relationship Id="rId4" Type="http://schemas.openxmlformats.org/officeDocument/2006/relationships/image" Target="../media/image22.png"/></Relationships>
</file>

<file path=ppt/slides/_rels/slide7.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png"/><Relationship Id="rId1" Type="http://schemas.openxmlformats.org/officeDocument/2006/relationships/slideLayout" Target="../slideLayouts/slideLayout13.xml"/><Relationship Id="rId4" Type="http://schemas.openxmlformats.org/officeDocument/2006/relationships/image" Target="../media/image26.png"/></Relationships>
</file>

<file path=ppt/slides/_rels/slide8.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png"/><Relationship Id="rId1" Type="http://schemas.openxmlformats.org/officeDocument/2006/relationships/slideLayout" Target="../slideLayouts/slideLayout13.xml"/><Relationship Id="rId4" Type="http://schemas.openxmlformats.org/officeDocument/2006/relationships/image" Target="../media/image29.png"/></Relationships>
</file>

<file path=ppt/slides/_rels/slide9.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0.png"/><Relationship Id="rId1" Type="http://schemas.openxmlformats.org/officeDocument/2006/relationships/slideLayout" Target="../slideLayouts/slideLayout13.xml"/><Relationship Id="rId6" Type="http://schemas.openxmlformats.org/officeDocument/2006/relationships/image" Target="../media/image34.png"/><Relationship Id="rId5" Type="http://schemas.openxmlformats.org/officeDocument/2006/relationships/image" Target="../media/image33.png"/><Relationship Id="rId4" Type="http://schemas.openxmlformats.org/officeDocument/2006/relationships/image" Target="../media/image32.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00B2E1F-CF5F-8695-0F08-0219BAE8A2C4}"/>
              </a:ext>
            </a:extLst>
          </p:cNvPr>
          <p:cNvSpPr>
            <a:spLocks noGrp="1"/>
          </p:cNvSpPr>
          <p:nvPr>
            <p:ph type="ctrTitle"/>
          </p:nvPr>
        </p:nvSpPr>
        <p:spPr/>
        <p:txBody>
          <a:bodyPr/>
          <a:lstStyle/>
          <a:p>
            <a:endParaRPr lang="en-US"/>
          </a:p>
        </p:txBody>
      </p:sp>
      <p:sp>
        <p:nvSpPr>
          <p:cNvPr id="3" name="Subtitle 2">
            <a:extLst>
              <a:ext uri="{FF2B5EF4-FFF2-40B4-BE49-F238E27FC236}">
                <a16:creationId xmlns:a16="http://schemas.microsoft.com/office/drawing/2014/main" id="{0DF6B4BF-0761-AA16-4C57-8E7E3275FBAD}"/>
              </a:ext>
            </a:extLst>
          </p:cNvPr>
          <p:cNvSpPr>
            <a:spLocks noGrp="1"/>
          </p:cNvSpPr>
          <p:nvPr>
            <p:ph type="subTitle" idx="1"/>
          </p:nvPr>
        </p:nvSpPr>
        <p:spPr/>
        <p:txBody>
          <a:bodyPr/>
          <a:lstStyle/>
          <a:p>
            <a:endParaRPr lang="en-US"/>
          </a:p>
        </p:txBody>
      </p:sp>
      <p:sp>
        <p:nvSpPr>
          <p:cNvPr id="4" name="AutoShape 2" descr="Nieuw Statendam Cruises | Holland America Line">
            <a:extLst>
              <a:ext uri="{FF2B5EF4-FFF2-40B4-BE49-F238E27FC236}">
                <a16:creationId xmlns:a16="http://schemas.microsoft.com/office/drawing/2014/main" id="{DE104D14-1B2C-7E74-59F3-CB15EF8B6B56}"/>
              </a:ext>
            </a:extLst>
          </p:cNvPr>
          <p:cNvSpPr>
            <a:spLocks noChangeAspect="1" noChangeArrowheads="1"/>
          </p:cNvSpPr>
          <p:nvPr/>
        </p:nvSpPr>
        <p:spPr bwMode="auto">
          <a:xfrm>
            <a:off x="5943600" y="32766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pic>
        <p:nvPicPr>
          <p:cNvPr id="6" name="Picture 5">
            <a:extLst>
              <a:ext uri="{FF2B5EF4-FFF2-40B4-BE49-F238E27FC236}">
                <a16:creationId xmlns:a16="http://schemas.microsoft.com/office/drawing/2014/main" id="{BD7035B7-AD30-7A99-0C9A-72A93D6040FB}"/>
              </a:ext>
            </a:extLst>
          </p:cNvPr>
          <p:cNvPicPr>
            <a:picLocks noChangeAspect="1"/>
          </p:cNvPicPr>
          <p:nvPr/>
        </p:nvPicPr>
        <p:blipFill>
          <a:blip r:embed="rId2"/>
          <a:stretch>
            <a:fillRect/>
          </a:stretch>
        </p:blipFill>
        <p:spPr>
          <a:xfrm>
            <a:off x="0" y="7753"/>
            <a:ext cx="12169785" cy="6850247"/>
          </a:xfrm>
          <a:prstGeom prst="rect">
            <a:avLst/>
          </a:prstGeom>
        </p:spPr>
      </p:pic>
      <p:sp>
        <p:nvSpPr>
          <p:cNvPr id="7" name="TextBox 6">
            <a:extLst>
              <a:ext uri="{FF2B5EF4-FFF2-40B4-BE49-F238E27FC236}">
                <a16:creationId xmlns:a16="http://schemas.microsoft.com/office/drawing/2014/main" id="{9FDB6324-8EF4-0716-30F5-789AB2BCF0D1}"/>
              </a:ext>
            </a:extLst>
          </p:cNvPr>
          <p:cNvSpPr txBox="1"/>
          <p:nvPr/>
        </p:nvSpPr>
        <p:spPr>
          <a:xfrm>
            <a:off x="7297946" y="2613804"/>
            <a:ext cx="4425351" cy="4891177"/>
          </a:xfrm>
          <a:prstGeom prst="rect">
            <a:avLst/>
          </a:prstGeom>
          <a:no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3600" b="1" dirty="0">
                <a:solidFill>
                  <a:schemeClr val="bg1"/>
                </a:solidFill>
              </a:rPr>
              <a:t>Holland America Line Case Study</a:t>
            </a:r>
          </a:p>
          <a:p>
            <a:pPr algn="ctr"/>
            <a:endParaRPr lang="en-US" sz="3200" dirty="0">
              <a:solidFill>
                <a:schemeClr val="bg1"/>
              </a:solidFill>
            </a:endParaRPr>
          </a:p>
          <a:p>
            <a:pPr algn="ctr"/>
            <a:r>
              <a:rPr lang="en-US" dirty="0">
                <a:solidFill>
                  <a:schemeClr val="bg1"/>
                </a:solidFill>
              </a:rPr>
              <a:t>Zhen Xu</a:t>
            </a:r>
          </a:p>
          <a:p>
            <a:pPr algn="ctr"/>
            <a:r>
              <a:rPr lang="en-US" dirty="0">
                <a:solidFill>
                  <a:schemeClr val="bg1"/>
                </a:solidFill>
              </a:rPr>
              <a:t>04/04/2023</a:t>
            </a:r>
          </a:p>
        </p:txBody>
      </p:sp>
    </p:spTree>
    <p:extLst>
      <p:ext uri="{BB962C8B-B14F-4D97-AF65-F5344CB8AC3E}">
        <p14:creationId xmlns:p14="http://schemas.microsoft.com/office/powerpoint/2010/main" val="289588722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8F31AF7-4A25-B232-FE1D-7797C09BA6B9}"/>
              </a:ext>
            </a:extLst>
          </p:cNvPr>
          <p:cNvSpPr>
            <a:spLocks noGrp="1"/>
          </p:cNvSpPr>
          <p:nvPr>
            <p:ph type="title"/>
          </p:nvPr>
        </p:nvSpPr>
        <p:spPr/>
        <p:txBody>
          <a:bodyPr/>
          <a:lstStyle/>
          <a:p>
            <a:r>
              <a:rPr lang="en-US" dirty="0"/>
              <a:t>Personalized Communication Strategy for “</a:t>
            </a:r>
            <a:r>
              <a:rPr lang="en-US" dirty="0" err="1"/>
              <a:t>Coastals</a:t>
            </a:r>
            <a:r>
              <a:rPr lang="en-US" dirty="0"/>
              <a:t>”</a:t>
            </a:r>
          </a:p>
        </p:txBody>
      </p:sp>
      <p:sp>
        <p:nvSpPr>
          <p:cNvPr id="3" name="TextBox 2">
            <a:extLst>
              <a:ext uri="{FF2B5EF4-FFF2-40B4-BE49-F238E27FC236}">
                <a16:creationId xmlns:a16="http://schemas.microsoft.com/office/drawing/2014/main" id="{4A835555-5AAB-D64F-BE74-09684CB71FA7}"/>
              </a:ext>
            </a:extLst>
          </p:cNvPr>
          <p:cNvSpPr txBox="1"/>
          <p:nvPr/>
        </p:nvSpPr>
        <p:spPr>
          <a:xfrm>
            <a:off x="628800" y="153419"/>
            <a:ext cx="10085208" cy="594532"/>
          </a:xfrm>
          <a:prstGeom prst="rect">
            <a:avLst/>
          </a:prstGeom>
          <a:noFill/>
        </p:spPr>
        <p:txBody>
          <a:bodyPr wrap="square" lIns="0" tIns="0" rIns="144000" bIns="0" rtlCol="0" anchor="ctr">
            <a:noAutofit/>
          </a:bodyPr>
          <a:lstStyle/>
          <a:p>
            <a:pPr>
              <a:lnSpc>
                <a:spcPct val="90000"/>
              </a:lnSpc>
              <a:spcAft>
                <a:spcPts val="600"/>
              </a:spcAft>
            </a:pPr>
            <a:r>
              <a:rPr lang="en-US" sz="1400" i="1" dirty="0">
                <a:solidFill>
                  <a:schemeClr val="bg2">
                    <a:lumMod val="50000"/>
                  </a:schemeClr>
                </a:solidFill>
              </a:rPr>
              <a:t>Here is an example!</a:t>
            </a:r>
          </a:p>
        </p:txBody>
      </p:sp>
      <p:sp>
        <p:nvSpPr>
          <p:cNvPr id="4" name="ee4pContent2">
            <a:extLst>
              <a:ext uri="{FF2B5EF4-FFF2-40B4-BE49-F238E27FC236}">
                <a16:creationId xmlns:a16="http://schemas.microsoft.com/office/drawing/2014/main" id="{50E9B8DC-3CF8-D3BB-3D17-8A3689BFFECA}"/>
              </a:ext>
            </a:extLst>
          </p:cNvPr>
          <p:cNvSpPr txBox="1"/>
          <p:nvPr/>
        </p:nvSpPr>
        <p:spPr>
          <a:xfrm>
            <a:off x="3157268" y="1268629"/>
            <a:ext cx="8333117" cy="907941"/>
          </a:xfrm>
          <a:prstGeom prst="rect">
            <a:avLst/>
          </a:prstGeom>
        </p:spPr>
        <p:txBody>
          <a:bodyPr vert="horz" wrap="square" lIns="0" tIns="0" rIns="0" bIns="0" rtlCol="0" anchorCtr="0">
            <a:spAutoFit/>
          </a:bodyPr>
          <a:lstStyle>
            <a:lvl1pPr lvl="0" indent="0">
              <a:lnSpc>
                <a:spcPct val="110000"/>
              </a:lnSpc>
              <a:spcBef>
                <a:spcPts val="600"/>
              </a:spcBef>
              <a:spcAft>
                <a:spcPts val="300"/>
              </a:spcAft>
              <a:buFont typeface="Arial" panose="020B0604020202020204" pitchFamily="34" charset="0"/>
              <a:buChar char="​"/>
              <a:defRPr lang="en-US" sz="1200">
                <a:latin typeface="Trebuchet MS" panose="020B0603020202020204" pitchFamily="34" charset="0"/>
                <a:sym typeface="Trebuchet MS" panose="020B0603020202020204" pitchFamily="34" charset="0"/>
              </a:defRPr>
            </a:lvl1pPr>
            <a:lvl2pPr marL="284400" lvl="1" indent="-172800">
              <a:lnSpc>
                <a:spcPct val="90000"/>
              </a:lnSpc>
              <a:spcBef>
                <a:spcPts val="0"/>
              </a:spcBef>
              <a:spcAft>
                <a:spcPts val="300"/>
              </a:spcAft>
              <a:buClr>
                <a:schemeClr val="tx2"/>
              </a:buClr>
              <a:buFont typeface="Arial" panose="020B0604020202020204" pitchFamily="34" charset="0"/>
              <a:buChar char="•"/>
              <a:defRPr lang="en-US" sz="1200">
                <a:latin typeface="Trebuchet MS" panose="020B0603020202020204" pitchFamily="34" charset="0"/>
                <a:sym typeface="Trebuchet MS" panose="020B0603020202020204" pitchFamily="34" charset="0"/>
              </a:defRPr>
            </a:lvl2pPr>
            <a:lvl3pPr marL="511200" lvl="2" indent="-165600">
              <a:lnSpc>
                <a:spcPct val="90000"/>
              </a:lnSpc>
              <a:spcBef>
                <a:spcPts val="0"/>
              </a:spcBef>
              <a:spcAft>
                <a:spcPts val="30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3pPr>
            <a:lvl4pPr marL="0" lvl="3" indent="0">
              <a:lnSpc>
                <a:spcPct val="110000"/>
              </a:lnSpc>
              <a:spcBef>
                <a:spcPts val="300"/>
              </a:spcBef>
              <a:spcAft>
                <a:spcPts val="300"/>
              </a:spcAft>
              <a:buClr>
                <a:schemeClr val="tx2"/>
              </a:buClr>
              <a:buFont typeface="Arial" panose="020B0604020202020204" pitchFamily="34" charset="0"/>
              <a:buChar char="​"/>
              <a:defRPr lang="en-US" sz="16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300"/>
              </a:spcAft>
              <a:buClrTx/>
              <a:buFont typeface="Arial" panose="020B0604020202020204" pitchFamily="34" charset="0"/>
              <a:buChar char="​"/>
              <a:defRPr lang="en-US" sz="1600" b="1" smtClean="0">
                <a:latin typeface="Trebuchet MS" panose="020B0603020202020204" pitchFamily="34" charset="0"/>
                <a:sym typeface="Trebuchet MS" panose="020B0603020202020204" pitchFamily="34" charset="0"/>
              </a:defRPr>
            </a:lvl5pPr>
            <a:lvl6pPr marL="269875" lvl="5" indent="-152400">
              <a:lnSpc>
                <a:spcPct val="90000"/>
              </a:lnSpc>
              <a:spcBef>
                <a:spcPts val="0"/>
              </a:spcBef>
              <a:spcAft>
                <a:spcPts val="600"/>
              </a:spcAft>
              <a:buClr>
                <a:schemeClr val="tx2"/>
              </a:buClr>
              <a:buFont typeface="Arial" panose="020B0604020202020204" pitchFamily="34" charset="0"/>
              <a:buChar char="•"/>
              <a:defRPr lang="en-US" sz="1600" smtClean="0">
                <a:latin typeface="Trebuchet MS" panose="020B0603020202020204" pitchFamily="34" charset="0"/>
                <a:sym typeface="Trebuchet MS" panose="020B0603020202020204" pitchFamily="34" charset="0"/>
              </a:defRPr>
            </a:lvl6pPr>
            <a:lvl7pPr marL="0" lvl="6" indent="0">
              <a:lnSpc>
                <a:spcPct val="90000"/>
              </a:lnSpc>
              <a:spcBef>
                <a:spcPts val="900"/>
              </a:spcBef>
              <a:spcAft>
                <a:spcPts val="900"/>
              </a:spcAft>
              <a:buFont typeface="Arial" panose="020B0604020202020204" pitchFamily="34" charset="0"/>
              <a:buChar char="​"/>
              <a:defRPr lang="en-US" sz="4400" baseline="0" smtClean="0">
                <a:latin typeface="Trebuchet MS" panose="020B0603020202020204" pitchFamily="34" charset="0"/>
                <a:sym typeface="Trebuchet MS" panose="020B0603020202020204" pitchFamily="34" charset="0"/>
              </a:defRPr>
            </a:lvl7pPr>
            <a:lvl8pPr marL="0" lvl="7" indent="0">
              <a:lnSpc>
                <a:spcPct val="90000"/>
              </a:lnSpc>
              <a:spcBef>
                <a:spcPts val="900"/>
              </a:spcBef>
              <a:spcAft>
                <a:spcPts val="0"/>
              </a:spcAft>
              <a:buFont typeface="Arial" panose="020B0604020202020204" pitchFamily="34" charset="0"/>
              <a:buChar char="​"/>
              <a:defRPr lang="en-US" sz="5400" baseline="0" smtClean="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900"/>
              </a:spcAft>
              <a:buFont typeface="Arial" panose="020B0604020202020204" pitchFamily="34" charset="0"/>
              <a:buChar char="​"/>
              <a:defRPr lang="en-US" sz="2400" baseline="0" dirty="0">
                <a:solidFill>
                  <a:schemeClr val="tx2"/>
                </a:solidFill>
                <a:latin typeface="Trebuchet MS" panose="020B0603020202020204" pitchFamily="34" charset="0"/>
                <a:sym typeface="Trebuchet MS" panose="020B0603020202020204" pitchFamily="34" charset="0"/>
              </a:defRPr>
            </a:lvl9pPr>
          </a:lstStyle>
          <a:p>
            <a:pPr>
              <a:lnSpc>
                <a:spcPct val="100000"/>
              </a:lnSpc>
              <a:spcBef>
                <a:spcPts val="0"/>
              </a:spcBef>
              <a:spcAft>
                <a:spcPts val="600"/>
              </a:spcAft>
              <a:buSzPct val="100000"/>
              <a:buFont typeface="Trebuchet MS" panose="020B0603020202020204" pitchFamily="34" charset="0"/>
              <a:buChar char="​"/>
            </a:pPr>
            <a:r>
              <a:rPr sz="1800" dirty="0">
                <a:solidFill>
                  <a:schemeClr val="tx1">
                    <a:lumMod val="100000"/>
                  </a:schemeClr>
                </a:solidFill>
                <a:effectLst>
                  <a:glow>
                    <a:srgbClr val="000000"/>
                  </a:glow>
                </a:effectLst>
              </a:rPr>
              <a:t>The peak booking month is October and the most off-season month is June</a:t>
            </a:r>
          </a:p>
          <a:p>
            <a:pPr>
              <a:lnSpc>
                <a:spcPct val="100000"/>
              </a:lnSpc>
              <a:spcBef>
                <a:spcPts val="0"/>
              </a:spcBef>
              <a:spcAft>
                <a:spcPts val="600"/>
              </a:spcAft>
              <a:buSzPct val="100000"/>
              <a:buFont typeface="Trebuchet MS" panose="020B0603020202020204" pitchFamily="34" charset="0"/>
              <a:buChar char="​"/>
            </a:pPr>
            <a:r>
              <a:rPr sz="1800" b="1" dirty="0">
                <a:solidFill>
                  <a:schemeClr val="tx1">
                    <a:lumMod val="100000"/>
                  </a:schemeClr>
                </a:solidFill>
                <a:effectLst>
                  <a:glow>
                    <a:srgbClr val="000000"/>
                  </a:glow>
                </a:effectLst>
              </a:rPr>
              <a:t>Strategy</a:t>
            </a:r>
            <a:r>
              <a:rPr sz="1800" dirty="0">
                <a:solidFill>
                  <a:schemeClr val="tx1">
                    <a:lumMod val="100000"/>
                  </a:schemeClr>
                </a:solidFill>
                <a:effectLst>
                  <a:glow>
                    <a:srgbClr val="000000"/>
                  </a:glow>
                </a:effectLst>
              </a:rPr>
              <a:t>: Contact guests in October (or a bit earlier than October) and reduce marketing effort near June.</a:t>
            </a:r>
          </a:p>
        </p:txBody>
      </p:sp>
      <p:sp>
        <p:nvSpPr>
          <p:cNvPr id="5" name="ee4pContent2">
            <a:extLst>
              <a:ext uri="{FF2B5EF4-FFF2-40B4-BE49-F238E27FC236}">
                <a16:creationId xmlns:a16="http://schemas.microsoft.com/office/drawing/2014/main" id="{80282851-BD58-BFE3-CA67-B20CDB4DEC5B}"/>
              </a:ext>
            </a:extLst>
          </p:cNvPr>
          <p:cNvSpPr txBox="1"/>
          <p:nvPr/>
        </p:nvSpPr>
        <p:spPr>
          <a:xfrm>
            <a:off x="1222174" y="1650767"/>
            <a:ext cx="2798897" cy="326903"/>
          </a:xfrm>
          <a:prstGeom prst="rect">
            <a:avLst/>
          </a:prstGeom>
        </p:spPr>
        <p:txBody>
          <a:bodyPr vert="horz" lIns="0" tIns="0" rIns="0" bIns="0" rtlCol="0">
            <a:noAutofit/>
          </a:bodyPr>
          <a:lstStyle>
            <a:lvl1pPr lvl="0" indent="0">
              <a:lnSpc>
                <a:spcPct val="110000"/>
              </a:lnSpc>
              <a:spcBef>
                <a:spcPts val="600"/>
              </a:spcBef>
              <a:spcAft>
                <a:spcPts val="300"/>
              </a:spcAft>
              <a:buFont typeface="Arial" panose="020B0604020202020204" pitchFamily="34" charset="0"/>
              <a:buChar char="​"/>
              <a:defRPr lang="en-US" sz="1200">
                <a:latin typeface="Trebuchet MS" panose="020B0603020202020204" pitchFamily="34" charset="0"/>
                <a:sym typeface="Trebuchet MS" panose="020B0603020202020204" pitchFamily="34" charset="0"/>
              </a:defRPr>
            </a:lvl1pPr>
            <a:lvl2pPr marL="284400" lvl="1" indent="-172800">
              <a:lnSpc>
                <a:spcPct val="90000"/>
              </a:lnSpc>
              <a:spcBef>
                <a:spcPts val="0"/>
              </a:spcBef>
              <a:spcAft>
                <a:spcPts val="300"/>
              </a:spcAft>
              <a:buClr>
                <a:schemeClr val="tx2"/>
              </a:buClr>
              <a:buFont typeface="Arial" panose="020B0604020202020204" pitchFamily="34" charset="0"/>
              <a:buChar char="•"/>
              <a:defRPr lang="en-US" sz="1200">
                <a:latin typeface="Trebuchet MS" panose="020B0603020202020204" pitchFamily="34" charset="0"/>
                <a:sym typeface="Trebuchet MS" panose="020B0603020202020204" pitchFamily="34" charset="0"/>
              </a:defRPr>
            </a:lvl2pPr>
            <a:lvl3pPr marL="511200" lvl="2" indent="-165600">
              <a:lnSpc>
                <a:spcPct val="90000"/>
              </a:lnSpc>
              <a:spcBef>
                <a:spcPts val="0"/>
              </a:spcBef>
              <a:spcAft>
                <a:spcPts val="30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3pPr>
            <a:lvl4pPr marL="0" lvl="3" indent="0">
              <a:lnSpc>
                <a:spcPct val="110000"/>
              </a:lnSpc>
              <a:spcBef>
                <a:spcPts val="300"/>
              </a:spcBef>
              <a:spcAft>
                <a:spcPts val="300"/>
              </a:spcAft>
              <a:buClr>
                <a:schemeClr val="tx2"/>
              </a:buClr>
              <a:buFont typeface="Arial" panose="020B0604020202020204" pitchFamily="34" charset="0"/>
              <a:buChar char="​"/>
              <a:defRPr lang="en-US" sz="16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300"/>
              </a:spcAft>
              <a:buClrTx/>
              <a:buFont typeface="Arial" panose="020B0604020202020204" pitchFamily="34" charset="0"/>
              <a:buChar char="​"/>
              <a:defRPr lang="en-US" sz="1600" b="1" smtClean="0">
                <a:latin typeface="Trebuchet MS" panose="020B0603020202020204" pitchFamily="34" charset="0"/>
                <a:sym typeface="Trebuchet MS" panose="020B0603020202020204" pitchFamily="34" charset="0"/>
              </a:defRPr>
            </a:lvl5pPr>
            <a:lvl6pPr marL="269875" lvl="5" indent="-152400">
              <a:lnSpc>
                <a:spcPct val="90000"/>
              </a:lnSpc>
              <a:spcBef>
                <a:spcPts val="0"/>
              </a:spcBef>
              <a:spcAft>
                <a:spcPts val="600"/>
              </a:spcAft>
              <a:buClr>
                <a:schemeClr val="tx2"/>
              </a:buClr>
              <a:buFont typeface="Arial" panose="020B0604020202020204" pitchFamily="34" charset="0"/>
              <a:buChar char="•"/>
              <a:defRPr lang="en-US" sz="1600" smtClean="0">
                <a:latin typeface="Trebuchet MS" panose="020B0603020202020204" pitchFamily="34" charset="0"/>
                <a:sym typeface="Trebuchet MS" panose="020B0603020202020204" pitchFamily="34" charset="0"/>
              </a:defRPr>
            </a:lvl6pPr>
            <a:lvl7pPr marL="0" lvl="6" indent="0">
              <a:lnSpc>
                <a:spcPct val="90000"/>
              </a:lnSpc>
              <a:spcBef>
                <a:spcPts val="900"/>
              </a:spcBef>
              <a:spcAft>
                <a:spcPts val="900"/>
              </a:spcAft>
              <a:buFont typeface="Arial" panose="020B0604020202020204" pitchFamily="34" charset="0"/>
              <a:buChar char="​"/>
              <a:defRPr lang="en-US" sz="4400" baseline="0" smtClean="0">
                <a:latin typeface="Trebuchet MS" panose="020B0603020202020204" pitchFamily="34" charset="0"/>
                <a:sym typeface="Trebuchet MS" panose="020B0603020202020204" pitchFamily="34" charset="0"/>
              </a:defRPr>
            </a:lvl7pPr>
            <a:lvl8pPr marL="0" lvl="7" indent="0">
              <a:lnSpc>
                <a:spcPct val="90000"/>
              </a:lnSpc>
              <a:spcBef>
                <a:spcPts val="900"/>
              </a:spcBef>
              <a:spcAft>
                <a:spcPts val="0"/>
              </a:spcAft>
              <a:buFont typeface="Arial" panose="020B0604020202020204" pitchFamily="34" charset="0"/>
              <a:buChar char="​"/>
              <a:defRPr lang="en-US" sz="5400" baseline="0" smtClean="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900"/>
              </a:spcAft>
              <a:buFont typeface="Arial" panose="020B0604020202020204" pitchFamily="34" charset="0"/>
              <a:buChar char="​"/>
              <a:defRPr lang="en-US" sz="2400" baseline="0" dirty="0">
                <a:solidFill>
                  <a:schemeClr val="tx2"/>
                </a:solidFill>
                <a:latin typeface="Trebuchet MS" panose="020B0603020202020204" pitchFamily="34" charset="0"/>
                <a:sym typeface="Trebuchet MS" panose="020B0603020202020204" pitchFamily="34" charset="0"/>
              </a:defRPr>
            </a:lvl9pPr>
          </a:lstStyle>
          <a:p>
            <a:r>
              <a:rPr lang="en-US" altLang="zh-CN" sz="1800" dirty="0">
                <a:solidFill>
                  <a:srgbClr val="29BA74"/>
                </a:solidFill>
              </a:rPr>
              <a:t>When to Target</a:t>
            </a:r>
            <a:endParaRPr sz="1800" dirty="0">
              <a:solidFill>
                <a:srgbClr val="29BA74"/>
              </a:solidFill>
            </a:endParaRPr>
          </a:p>
        </p:txBody>
      </p:sp>
      <p:cxnSp>
        <p:nvCxnSpPr>
          <p:cNvPr id="6" name="Straight Connector 5">
            <a:extLst>
              <a:ext uri="{FF2B5EF4-FFF2-40B4-BE49-F238E27FC236}">
                <a16:creationId xmlns:a16="http://schemas.microsoft.com/office/drawing/2014/main" id="{004CC22C-FB49-C6A5-3918-19782B422C19}"/>
              </a:ext>
            </a:extLst>
          </p:cNvPr>
          <p:cNvCxnSpPr>
            <a:cxnSpLocks/>
          </p:cNvCxnSpPr>
          <p:nvPr/>
        </p:nvCxnSpPr>
        <p:spPr>
          <a:xfrm>
            <a:off x="701615" y="2287605"/>
            <a:ext cx="10749442" cy="0"/>
          </a:xfrm>
          <a:prstGeom prst="line">
            <a:avLst/>
          </a:prstGeom>
          <a:ln w="9525">
            <a:solidFill>
              <a:schemeClr val="tx1">
                <a:lumMod val="60000"/>
                <a:lumOff val="40000"/>
              </a:schemeClr>
            </a:solidFill>
            <a:miter lim="800000"/>
          </a:ln>
        </p:spPr>
        <p:style>
          <a:lnRef idx="1">
            <a:schemeClr val="accent1"/>
          </a:lnRef>
          <a:fillRef idx="0">
            <a:schemeClr val="accent1"/>
          </a:fillRef>
          <a:effectRef idx="0">
            <a:schemeClr val="accent1"/>
          </a:effectRef>
          <a:fontRef idx="minor">
            <a:schemeClr val="tx1"/>
          </a:fontRef>
        </p:style>
      </p:cxnSp>
      <p:sp>
        <p:nvSpPr>
          <p:cNvPr id="8" name="ee4pContent2">
            <a:extLst>
              <a:ext uri="{FF2B5EF4-FFF2-40B4-BE49-F238E27FC236}">
                <a16:creationId xmlns:a16="http://schemas.microsoft.com/office/drawing/2014/main" id="{E520464C-F885-723D-7CFD-3F2500880096}"/>
              </a:ext>
            </a:extLst>
          </p:cNvPr>
          <p:cNvSpPr txBox="1"/>
          <p:nvPr/>
        </p:nvSpPr>
        <p:spPr>
          <a:xfrm>
            <a:off x="1222171" y="3452357"/>
            <a:ext cx="2798897" cy="326903"/>
          </a:xfrm>
          <a:prstGeom prst="rect">
            <a:avLst/>
          </a:prstGeom>
        </p:spPr>
        <p:txBody>
          <a:bodyPr vert="horz" lIns="0" tIns="0" rIns="0" bIns="0" rtlCol="0">
            <a:noAutofit/>
          </a:bodyPr>
          <a:lstStyle>
            <a:lvl1pPr lvl="0" indent="0">
              <a:lnSpc>
                <a:spcPct val="110000"/>
              </a:lnSpc>
              <a:spcBef>
                <a:spcPts val="600"/>
              </a:spcBef>
              <a:spcAft>
                <a:spcPts val="300"/>
              </a:spcAft>
              <a:buFont typeface="Arial" panose="020B0604020202020204" pitchFamily="34" charset="0"/>
              <a:buChar char="​"/>
              <a:defRPr lang="en-US" sz="1200">
                <a:latin typeface="Trebuchet MS" panose="020B0603020202020204" pitchFamily="34" charset="0"/>
                <a:sym typeface="Trebuchet MS" panose="020B0603020202020204" pitchFamily="34" charset="0"/>
              </a:defRPr>
            </a:lvl1pPr>
            <a:lvl2pPr marL="284400" lvl="1" indent="-172800">
              <a:lnSpc>
                <a:spcPct val="90000"/>
              </a:lnSpc>
              <a:spcBef>
                <a:spcPts val="0"/>
              </a:spcBef>
              <a:spcAft>
                <a:spcPts val="300"/>
              </a:spcAft>
              <a:buClr>
                <a:schemeClr val="tx2"/>
              </a:buClr>
              <a:buFont typeface="Arial" panose="020B0604020202020204" pitchFamily="34" charset="0"/>
              <a:buChar char="•"/>
              <a:defRPr lang="en-US" sz="1200">
                <a:latin typeface="Trebuchet MS" panose="020B0603020202020204" pitchFamily="34" charset="0"/>
                <a:sym typeface="Trebuchet MS" panose="020B0603020202020204" pitchFamily="34" charset="0"/>
              </a:defRPr>
            </a:lvl2pPr>
            <a:lvl3pPr marL="511200" lvl="2" indent="-165600">
              <a:lnSpc>
                <a:spcPct val="90000"/>
              </a:lnSpc>
              <a:spcBef>
                <a:spcPts val="0"/>
              </a:spcBef>
              <a:spcAft>
                <a:spcPts val="30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3pPr>
            <a:lvl4pPr marL="0" lvl="3" indent="0">
              <a:lnSpc>
                <a:spcPct val="110000"/>
              </a:lnSpc>
              <a:spcBef>
                <a:spcPts val="300"/>
              </a:spcBef>
              <a:spcAft>
                <a:spcPts val="300"/>
              </a:spcAft>
              <a:buClr>
                <a:schemeClr val="tx2"/>
              </a:buClr>
              <a:buFont typeface="Arial" panose="020B0604020202020204" pitchFamily="34" charset="0"/>
              <a:buChar char="​"/>
              <a:defRPr lang="en-US" sz="16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300"/>
              </a:spcAft>
              <a:buClrTx/>
              <a:buFont typeface="Arial" panose="020B0604020202020204" pitchFamily="34" charset="0"/>
              <a:buChar char="​"/>
              <a:defRPr lang="en-US" sz="1600" b="1" smtClean="0">
                <a:latin typeface="Trebuchet MS" panose="020B0603020202020204" pitchFamily="34" charset="0"/>
                <a:sym typeface="Trebuchet MS" panose="020B0603020202020204" pitchFamily="34" charset="0"/>
              </a:defRPr>
            </a:lvl5pPr>
            <a:lvl6pPr marL="269875" lvl="5" indent="-152400">
              <a:lnSpc>
                <a:spcPct val="90000"/>
              </a:lnSpc>
              <a:spcBef>
                <a:spcPts val="0"/>
              </a:spcBef>
              <a:spcAft>
                <a:spcPts val="600"/>
              </a:spcAft>
              <a:buClr>
                <a:schemeClr val="tx2"/>
              </a:buClr>
              <a:buFont typeface="Arial" panose="020B0604020202020204" pitchFamily="34" charset="0"/>
              <a:buChar char="•"/>
              <a:defRPr lang="en-US" sz="1600" smtClean="0">
                <a:latin typeface="Trebuchet MS" panose="020B0603020202020204" pitchFamily="34" charset="0"/>
                <a:sym typeface="Trebuchet MS" panose="020B0603020202020204" pitchFamily="34" charset="0"/>
              </a:defRPr>
            </a:lvl6pPr>
            <a:lvl7pPr marL="0" lvl="6" indent="0">
              <a:lnSpc>
                <a:spcPct val="90000"/>
              </a:lnSpc>
              <a:spcBef>
                <a:spcPts val="900"/>
              </a:spcBef>
              <a:spcAft>
                <a:spcPts val="900"/>
              </a:spcAft>
              <a:buFont typeface="Arial" panose="020B0604020202020204" pitchFamily="34" charset="0"/>
              <a:buChar char="​"/>
              <a:defRPr lang="en-US" sz="4400" baseline="0" smtClean="0">
                <a:latin typeface="Trebuchet MS" panose="020B0603020202020204" pitchFamily="34" charset="0"/>
                <a:sym typeface="Trebuchet MS" panose="020B0603020202020204" pitchFamily="34" charset="0"/>
              </a:defRPr>
            </a:lvl7pPr>
            <a:lvl8pPr marL="0" lvl="7" indent="0">
              <a:lnSpc>
                <a:spcPct val="90000"/>
              </a:lnSpc>
              <a:spcBef>
                <a:spcPts val="900"/>
              </a:spcBef>
              <a:spcAft>
                <a:spcPts val="0"/>
              </a:spcAft>
              <a:buFont typeface="Arial" panose="020B0604020202020204" pitchFamily="34" charset="0"/>
              <a:buChar char="​"/>
              <a:defRPr lang="en-US" sz="5400" baseline="0" smtClean="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900"/>
              </a:spcAft>
              <a:buFont typeface="Arial" panose="020B0604020202020204" pitchFamily="34" charset="0"/>
              <a:buChar char="​"/>
              <a:defRPr lang="en-US" sz="2400" baseline="0" dirty="0">
                <a:solidFill>
                  <a:schemeClr val="tx2"/>
                </a:solidFill>
                <a:latin typeface="Trebuchet MS" panose="020B0603020202020204" pitchFamily="34" charset="0"/>
                <a:sym typeface="Trebuchet MS" panose="020B0603020202020204" pitchFamily="34" charset="0"/>
              </a:defRPr>
            </a:lvl9pPr>
          </a:lstStyle>
          <a:p>
            <a:r>
              <a:rPr lang="en-US" altLang="zh-CN" sz="1800" dirty="0">
                <a:solidFill>
                  <a:srgbClr val="29BA74"/>
                </a:solidFill>
              </a:rPr>
              <a:t>Who to Target</a:t>
            </a:r>
            <a:endParaRPr sz="1800" dirty="0">
              <a:solidFill>
                <a:srgbClr val="29BA74"/>
              </a:solidFill>
            </a:endParaRPr>
          </a:p>
        </p:txBody>
      </p:sp>
      <p:sp>
        <p:nvSpPr>
          <p:cNvPr id="10" name="ee4pContent2">
            <a:extLst>
              <a:ext uri="{FF2B5EF4-FFF2-40B4-BE49-F238E27FC236}">
                <a16:creationId xmlns:a16="http://schemas.microsoft.com/office/drawing/2014/main" id="{E0894BBC-5BF7-3ACB-C88B-AB92A7880A40}"/>
              </a:ext>
            </a:extLst>
          </p:cNvPr>
          <p:cNvSpPr txBox="1"/>
          <p:nvPr/>
        </p:nvSpPr>
        <p:spPr>
          <a:xfrm>
            <a:off x="3157268" y="2369608"/>
            <a:ext cx="8643668" cy="2400657"/>
          </a:xfrm>
          <a:prstGeom prst="rect">
            <a:avLst/>
          </a:prstGeom>
        </p:spPr>
        <p:txBody>
          <a:bodyPr vert="horz" wrap="square" lIns="0" tIns="0" rIns="0" bIns="0" rtlCol="0" anchorCtr="0">
            <a:spAutoFit/>
          </a:bodyPr>
          <a:lstStyle>
            <a:lvl1pPr lvl="0" indent="0">
              <a:lnSpc>
                <a:spcPct val="110000"/>
              </a:lnSpc>
              <a:spcBef>
                <a:spcPts val="600"/>
              </a:spcBef>
              <a:spcAft>
                <a:spcPts val="300"/>
              </a:spcAft>
              <a:buFont typeface="Arial" panose="020B0604020202020204" pitchFamily="34" charset="0"/>
              <a:buChar char="​"/>
              <a:defRPr lang="en-US" sz="1200">
                <a:latin typeface="Trebuchet MS" panose="020B0603020202020204" pitchFamily="34" charset="0"/>
                <a:sym typeface="Trebuchet MS" panose="020B0603020202020204" pitchFamily="34" charset="0"/>
              </a:defRPr>
            </a:lvl1pPr>
            <a:lvl2pPr marL="284400" lvl="1" indent="-172800">
              <a:lnSpc>
                <a:spcPct val="90000"/>
              </a:lnSpc>
              <a:spcBef>
                <a:spcPts val="0"/>
              </a:spcBef>
              <a:spcAft>
                <a:spcPts val="300"/>
              </a:spcAft>
              <a:buClr>
                <a:schemeClr val="tx2"/>
              </a:buClr>
              <a:buFont typeface="Arial" panose="020B0604020202020204" pitchFamily="34" charset="0"/>
              <a:buChar char="•"/>
              <a:defRPr lang="en-US" sz="1200">
                <a:latin typeface="Trebuchet MS" panose="020B0603020202020204" pitchFamily="34" charset="0"/>
                <a:sym typeface="Trebuchet MS" panose="020B0603020202020204" pitchFamily="34" charset="0"/>
              </a:defRPr>
            </a:lvl2pPr>
            <a:lvl3pPr marL="511200" lvl="2" indent="-165600">
              <a:lnSpc>
                <a:spcPct val="90000"/>
              </a:lnSpc>
              <a:spcBef>
                <a:spcPts val="0"/>
              </a:spcBef>
              <a:spcAft>
                <a:spcPts val="30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3pPr>
            <a:lvl4pPr marL="0" lvl="3" indent="0">
              <a:lnSpc>
                <a:spcPct val="110000"/>
              </a:lnSpc>
              <a:spcBef>
                <a:spcPts val="300"/>
              </a:spcBef>
              <a:spcAft>
                <a:spcPts val="300"/>
              </a:spcAft>
              <a:buClr>
                <a:schemeClr val="tx2"/>
              </a:buClr>
              <a:buFont typeface="Arial" panose="020B0604020202020204" pitchFamily="34" charset="0"/>
              <a:buChar char="​"/>
              <a:defRPr lang="en-US" sz="16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300"/>
              </a:spcAft>
              <a:buClrTx/>
              <a:buFont typeface="Arial" panose="020B0604020202020204" pitchFamily="34" charset="0"/>
              <a:buChar char="​"/>
              <a:defRPr lang="en-US" sz="1600" b="1" smtClean="0">
                <a:latin typeface="Trebuchet MS" panose="020B0603020202020204" pitchFamily="34" charset="0"/>
                <a:sym typeface="Trebuchet MS" panose="020B0603020202020204" pitchFamily="34" charset="0"/>
              </a:defRPr>
            </a:lvl5pPr>
            <a:lvl6pPr marL="269875" lvl="5" indent="-152400">
              <a:lnSpc>
                <a:spcPct val="90000"/>
              </a:lnSpc>
              <a:spcBef>
                <a:spcPts val="0"/>
              </a:spcBef>
              <a:spcAft>
                <a:spcPts val="600"/>
              </a:spcAft>
              <a:buClr>
                <a:schemeClr val="tx2"/>
              </a:buClr>
              <a:buFont typeface="Arial" panose="020B0604020202020204" pitchFamily="34" charset="0"/>
              <a:buChar char="•"/>
              <a:defRPr lang="en-US" sz="1600" smtClean="0">
                <a:latin typeface="Trebuchet MS" panose="020B0603020202020204" pitchFamily="34" charset="0"/>
                <a:sym typeface="Trebuchet MS" panose="020B0603020202020204" pitchFamily="34" charset="0"/>
              </a:defRPr>
            </a:lvl6pPr>
            <a:lvl7pPr marL="0" lvl="6" indent="0">
              <a:lnSpc>
                <a:spcPct val="90000"/>
              </a:lnSpc>
              <a:spcBef>
                <a:spcPts val="900"/>
              </a:spcBef>
              <a:spcAft>
                <a:spcPts val="900"/>
              </a:spcAft>
              <a:buFont typeface="Arial" panose="020B0604020202020204" pitchFamily="34" charset="0"/>
              <a:buChar char="​"/>
              <a:defRPr lang="en-US" sz="4400" baseline="0" smtClean="0">
                <a:latin typeface="Trebuchet MS" panose="020B0603020202020204" pitchFamily="34" charset="0"/>
                <a:sym typeface="Trebuchet MS" panose="020B0603020202020204" pitchFamily="34" charset="0"/>
              </a:defRPr>
            </a:lvl7pPr>
            <a:lvl8pPr marL="0" lvl="7" indent="0">
              <a:lnSpc>
                <a:spcPct val="90000"/>
              </a:lnSpc>
              <a:spcBef>
                <a:spcPts val="900"/>
              </a:spcBef>
              <a:spcAft>
                <a:spcPts val="0"/>
              </a:spcAft>
              <a:buFont typeface="Arial" panose="020B0604020202020204" pitchFamily="34" charset="0"/>
              <a:buChar char="​"/>
              <a:defRPr lang="en-US" sz="5400" baseline="0" smtClean="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900"/>
              </a:spcAft>
              <a:buFont typeface="Arial" panose="020B0604020202020204" pitchFamily="34" charset="0"/>
              <a:buChar char="​"/>
              <a:defRPr lang="en-US" sz="2400" baseline="0" dirty="0">
                <a:solidFill>
                  <a:schemeClr val="tx2"/>
                </a:solidFill>
                <a:latin typeface="Trebuchet MS" panose="020B0603020202020204" pitchFamily="34" charset="0"/>
                <a:sym typeface="Trebuchet MS" panose="020B0603020202020204" pitchFamily="34" charset="0"/>
              </a:defRPr>
            </a:lvl9pPr>
          </a:lstStyle>
          <a:p>
            <a:pPr>
              <a:lnSpc>
                <a:spcPct val="100000"/>
              </a:lnSpc>
              <a:spcBef>
                <a:spcPts val="0"/>
              </a:spcBef>
              <a:spcAft>
                <a:spcPts val="600"/>
              </a:spcAft>
              <a:buSzPct val="100000"/>
              <a:buFont typeface="Trebuchet MS" panose="020B0603020202020204" pitchFamily="34" charset="0"/>
              <a:buChar char="​"/>
            </a:pPr>
            <a:r>
              <a:rPr sz="1800" dirty="0">
                <a:solidFill>
                  <a:schemeClr val="tx1">
                    <a:lumMod val="100000"/>
                  </a:schemeClr>
                </a:solidFill>
                <a:effectLst>
                  <a:glow>
                    <a:srgbClr val="000000"/>
                  </a:glow>
                </a:effectLst>
              </a:rPr>
              <a:t>Age Banding: Younger population</a:t>
            </a:r>
          </a:p>
          <a:p>
            <a:pPr>
              <a:lnSpc>
                <a:spcPct val="100000"/>
              </a:lnSpc>
              <a:spcBef>
                <a:spcPts val="0"/>
              </a:spcBef>
              <a:spcAft>
                <a:spcPts val="600"/>
              </a:spcAft>
              <a:buSzPct val="100000"/>
              <a:buFont typeface="Trebuchet MS" panose="020B0603020202020204" pitchFamily="34" charset="0"/>
              <a:buChar char="​"/>
            </a:pPr>
            <a:r>
              <a:rPr lang="en-US" sz="1800" dirty="0">
                <a:solidFill>
                  <a:schemeClr val="tx1">
                    <a:lumMod val="100000"/>
                  </a:schemeClr>
                </a:solidFill>
                <a:effectLst>
                  <a:glow>
                    <a:srgbClr val="000000"/>
                  </a:glow>
                </a:effectLst>
              </a:rPr>
              <a:t>Life Stage: Pre-family &amp; Family, focusing more on pre-family</a:t>
            </a:r>
          </a:p>
          <a:p>
            <a:pPr>
              <a:lnSpc>
                <a:spcPct val="100000"/>
              </a:lnSpc>
              <a:spcBef>
                <a:spcPts val="0"/>
              </a:spcBef>
              <a:spcAft>
                <a:spcPts val="600"/>
              </a:spcAft>
              <a:buSzPct val="100000"/>
              <a:buFont typeface="Trebuchet MS" panose="020B0603020202020204" pitchFamily="34" charset="0"/>
              <a:buChar char="​"/>
            </a:pPr>
            <a:r>
              <a:rPr lang="en-US" sz="1800" dirty="0">
                <a:solidFill>
                  <a:schemeClr val="tx1">
                    <a:lumMod val="100000"/>
                  </a:schemeClr>
                </a:solidFill>
                <a:effectLst>
                  <a:glow>
                    <a:srgbClr val="000000"/>
                  </a:glow>
                </a:effectLst>
              </a:rPr>
              <a:t>Mosaic Group: Aspiring Homemakers, Domestic Success etc.</a:t>
            </a:r>
          </a:p>
          <a:p>
            <a:pPr>
              <a:lnSpc>
                <a:spcPct val="100000"/>
              </a:lnSpc>
              <a:spcBef>
                <a:spcPts val="0"/>
              </a:spcBef>
              <a:spcAft>
                <a:spcPts val="600"/>
              </a:spcAft>
              <a:buSzPct val="100000"/>
              <a:buFont typeface="Trebuchet MS" panose="020B0603020202020204" pitchFamily="34" charset="0"/>
              <a:buChar char="​"/>
            </a:pPr>
            <a:r>
              <a:rPr lang="en-US" sz="1800" dirty="0">
                <a:solidFill>
                  <a:schemeClr val="tx1">
                    <a:lumMod val="100000"/>
                  </a:schemeClr>
                </a:solidFill>
                <a:effectLst>
                  <a:glow>
                    <a:srgbClr val="000000"/>
                  </a:glow>
                </a:effectLst>
              </a:rPr>
              <a:t>Mosaic Type: Alpha Families, Primary Ambitions, avoiding Classic Grandparents etc.</a:t>
            </a:r>
          </a:p>
          <a:p>
            <a:pPr>
              <a:lnSpc>
                <a:spcPct val="100000"/>
              </a:lnSpc>
              <a:spcBef>
                <a:spcPts val="0"/>
              </a:spcBef>
              <a:spcAft>
                <a:spcPts val="600"/>
              </a:spcAft>
              <a:buSzPct val="100000"/>
              <a:buFont typeface="Trebuchet MS" panose="020B0603020202020204" pitchFamily="34" charset="0"/>
              <a:buChar char="​"/>
            </a:pPr>
            <a:r>
              <a:rPr lang="en-US" sz="1800" dirty="0">
                <a:solidFill>
                  <a:schemeClr val="tx1">
                    <a:lumMod val="100000"/>
                  </a:schemeClr>
                </a:solidFill>
                <a:effectLst>
                  <a:glow>
                    <a:srgbClr val="000000"/>
                  </a:glow>
                </a:effectLst>
              </a:rPr>
              <a:t>Net Weekly HH Income: Between $434 - $553, with a focus on &gt; 488</a:t>
            </a:r>
          </a:p>
          <a:p>
            <a:pPr>
              <a:lnSpc>
                <a:spcPct val="100000"/>
              </a:lnSpc>
              <a:spcBef>
                <a:spcPts val="0"/>
              </a:spcBef>
              <a:spcAft>
                <a:spcPts val="600"/>
              </a:spcAft>
              <a:buSzPct val="100000"/>
              <a:buFont typeface="Trebuchet MS" panose="020B0603020202020204" pitchFamily="34" charset="0"/>
              <a:buChar char="​"/>
            </a:pPr>
            <a:r>
              <a:rPr lang="en-US" sz="1800" dirty="0">
                <a:solidFill>
                  <a:schemeClr val="tx1">
                    <a:lumMod val="100000"/>
                  </a:schemeClr>
                </a:solidFill>
                <a:effectLst>
                  <a:glow>
                    <a:srgbClr val="000000"/>
                  </a:glow>
                </a:effectLst>
              </a:rPr>
              <a:t>Total Children: People both with/without children</a:t>
            </a:r>
          </a:p>
          <a:p>
            <a:pPr>
              <a:lnSpc>
                <a:spcPct val="100000"/>
              </a:lnSpc>
              <a:spcBef>
                <a:spcPts val="0"/>
              </a:spcBef>
              <a:spcAft>
                <a:spcPts val="600"/>
              </a:spcAft>
              <a:buSzPct val="100000"/>
              <a:buFont typeface="Trebuchet MS" panose="020B0603020202020204" pitchFamily="34" charset="0"/>
              <a:buChar char="​"/>
            </a:pPr>
            <a:r>
              <a:rPr lang="en-US" sz="1800" dirty="0">
                <a:solidFill>
                  <a:schemeClr val="tx1">
                    <a:lumMod val="100000"/>
                  </a:schemeClr>
                </a:solidFill>
                <a:effectLst>
                  <a:glow>
                    <a:srgbClr val="000000"/>
                  </a:glow>
                </a:effectLst>
              </a:rPr>
              <a:t>Cruise Experience: Both, focusing more on newcomers.</a:t>
            </a:r>
          </a:p>
        </p:txBody>
      </p:sp>
      <p:cxnSp>
        <p:nvCxnSpPr>
          <p:cNvPr id="12" name="Straight Connector 11">
            <a:extLst>
              <a:ext uri="{FF2B5EF4-FFF2-40B4-BE49-F238E27FC236}">
                <a16:creationId xmlns:a16="http://schemas.microsoft.com/office/drawing/2014/main" id="{D8870C28-9920-1586-0CD7-6FB6A6C40483}"/>
              </a:ext>
            </a:extLst>
          </p:cNvPr>
          <p:cNvCxnSpPr>
            <a:cxnSpLocks/>
          </p:cNvCxnSpPr>
          <p:nvPr/>
        </p:nvCxnSpPr>
        <p:spPr>
          <a:xfrm>
            <a:off x="721279" y="4810781"/>
            <a:ext cx="10749442" cy="0"/>
          </a:xfrm>
          <a:prstGeom prst="line">
            <a:avLst/>
          </a:prstGeom>
          <a:ln w="9525">
            <a:solidFill>
              <a:schemeClr val="tx1">
                <a:lumMod val="60000"/>
                <a:lumOff val="40000"/>
              </a:schemeClr>
            </a:solidFill>
            <a:miter lim="800000"/>
          </a:ln>
        </p:spPr>
        <p:style>
          <a:lnRef idx="1">
            <a:schemeClr val="accent1"/>
          </a:lnRef>
          <a:fillRef idx="0">
            <a:schemeClr val="accent1"/>
          </a:fillRef>
          <a:effectRef idx="0">
            <a:schemeClr val="accent1"/>
          </a:effectRef>
          <a:fontRef idx="minor">
            <a:schemeClr val="tx1"/>
          </a:fontRef>
        </p:style>
      </p:cxnSp>
      <p:sp>
        <p:nvSpPr>
          <p:cNvPr id="13" name="ee4pContent2">
            <a:extLst>
              <a:ext uri="{FF2B5EF4-FFF2-40B4-BE49-F238E27FC236}">
                <a16:creationId xmlns:a16="http://schemas.microsoft.com/office/drawing/2014/main" id="{145AAD92-7F7D-517B-CB83-41AFB99F370F}"/>
              </a:ext>
            </a:extLst>
          </p:cNvPr>
          <p:cNvSpPr txBox="1"/>
          <p:nvPr/>
        </p:nvSpPr>
        <p:spPr>
          <a:xfrm>
            <a:off x="1140729" y="5592258"/>
            <a:ext cx="2798897" cy="326903"/>
          </a:xfrm>
          <a:prstGeom prst="rect">
            <a:avLst/>
          </a:prstGeom>
        </p:spPr>
        <p:txBody>
          <a:bodyPr vert="horz" lIns="0" tIns="0" rIns="0" bIns="0" rtlCol="0">
            <a:noAutofit/>
          </a:bodyPr>
          <a:lstStyle>
            <a:lvl1pPr lvl="0" indent="0">
              <a:lnSpc>
                <a:spcPct val="110000"/>
              </a:lnSpc>
              <a:spcBef>
                <a:spcPts val="600"/>
              </a:spcBef>
              <a:spcAft>
                <a:spcPts val="300"/>
              </a:spcAft>
              <a:buFont typeface="Arial" panose="020B0604020202020204" pitchFamily="34" charset="0"/>
              <a:buChar char="​"/>
              <a:defRPr lang="en-US" sz="1200">
                <a:latin typeface="Trebuchet MS" panose="020B0603020202020204" pitchFamily="34" charset="0"/>
                <a:sym typeface="Trebuchet MS" panose="020B0603020202020204" pitchFamily="34" charset="0"/>
              </a:defRPr>
            </a:lvl1pPr>
            <a:lvl2pPr marL="284400" lvl="1" indent="-172800">
              <a:lnSpc>
                <a:spcPct val="90000"/>
              </a:lnSpc>
              <a:spcBef>
                <a:spcPts val="0"/>
              </a:spcBef>
              <a:spcAft>
                <a:spcPts val="300"/>
              </a:spcAft>
              <a:buClr>
                <a:schemeClr val="tx2"/>
              </a:buClr>
              <a:buFont typeface="Arial" panose="020B0604020202020204" pitchFamily="34" charset="0"/>
              <a:buChar char="•"/>
              <a:defRPr lang="en-US" sz="1200">
                <a:latin typeface="Trebuchet MS" panose="020B0603020202020204" pitchFamily="34" charset="0"/>
                <a:sym typeface="Trebuchet MS" panose="020B0603020202020204" pitchFamily="34" charset="0"/>
              </a:defRPr>
            </a:lvl2pPr>
            <a:lvl3pPr marL="511200" lvl="2" indent="-165600">
              <a:lnSpc>
                <a:spcPct val="90000"/>
              </a:lnSpc>
              <a:spcBef>
                <a:spcPts val="0"/>
              </a:spcBef>
              <a:spcAft>
                <a:spcPts val="30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3pPr>
            <a:lvl4pPr marL="0" lvl="3" indent="0">
              <a:lnSpc>
                <a:spcPct val="110000"/>
              </a:lnSpc>
              <a:spcBef>
                <a:spcPts val="300"/>
              </a:spcBef>
              <a:spcAft>
                <a:spcPts val="300"/>
              </a:spcAft>
              <a:buClr>
                <a:schemeClr val="tx2"/>
              </a:buClr>
              <a:buFont typeface="Arial" panose="020B0604020202020204" pitchFamily="34" charset="0"/>
              <a:buChar char="​"/>
              <a:defRPr lang="en-US" sz="16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300"/>
              </a:spcAft>
              <a:buClrTx/>
              <a:buFont typeface="Arial" panose="020B0604020202020204" pitchFamily="34" charset="0"/>
              <a:buChar char="​"/>
              <a:defRPr lang="en-US" sz="1600" b="1" smtClean="0">
                <a:latin typeface="Trebuchet MS" panose="020B0603020202020204" pitchFamily="34" charset="0"/>
                <a:sym typeface="Trebuchet MS" panose="020B0603020202020204" pitchFamily="34" charset="0"/>
              </a:defRPr>
            </a:lvl5pPr>
            <a:lvl6pPr marL="269875" lvl="5" indent="-152400">
              <a:lnSpc>
                <a:spcPct val="90000"/>
              </a:lnSpc>
              <a:spcBef>
                <a:spcPts val="0"/>
              </a:spcBef>
              <a:spcAft>
                <a:spcPts val="600"/>
              </a:spcAft>
              <a:buClr>
                <a:schemeClr val="tx2"/>
              </a:buClr>
              <a:buFont typeface="Arial" panose="020B0604020202020204" pitchFamily="34" charset="0"/>
              <a:buChar char="•"/>
              <a:defRPr lang="en-US" sz="1600" smtClean="0">
                <a:latin typeface="Trebuchet MS" panose="020B0603020202020204" pitchFamily="34" charset="0"/>
                <a:sym typeface="Trebuchet MS" panose="020B0603020202020204" pitchFamily="34" charset="0"/>
              </a:defRPr>
            </a:lvl6pPr>
            <a:lvl7pPr marL="0" lvl="6" indent="0">
              <a:lnSpc>
                <a:spcPct val="90000"/>
              </a:lnSpc>
              <a:spcBef>
                <a:spcPts val="900"/>
              </a:spcBef>
              <a:spcAft>
                <a:spcPts val="900"/>
              </a:spcAft>
              <a:buFont typeface="Arial" panose="020B0604020202020204" pitchFamily="34" charset="0"/>
              <a:buChar char="​"/>
              <a:defRPr lang="en-US" sz="4400" baseline="0" smtClean="0">
                <a:latin typeface="Trebuchet MS" panose="020B0603020202020204" pitchFamily="34" charset="0"/>
                <a:sym typeface="Trebuchet MS" panose="020B0603020202020204" pitchFamily="34" charset="0"/>
              </a:defRPr>
            </a:lvl7pPr>
            <a:lvl8pPr marL="0" lvl="7" indent="0">
              <a:lnSpc>
                <a:spcPct val="90000"/>
              </a:lnSpc>
              <a:spcBef>
                <a:spcPts val="900"/>
              </a:spcBef>
              <a:spcAft>
                <a:spcPts val="0"/>
              </a:spcAft>
              <a:buFont typeface="Arial" panose="020B0604020202020204" pitchFamily="34" charset="0"/>
              <a:buChar char="​"/>
              <a:defRPr lang="en-US" sz="5400" baseline="0" smtClean="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900"/>
              </a:spcAft>
              <a:buFont typeface="Arial" panose="020B0604020202020204" pitchFamily="34" charset="0"/>
              <a:buChar char="​"/>
              <a:defRPr lang="en-US" sz="2400" baseline="0" dirty="0">
                <a:solidFill>
                  <a:schemeClr val="tx2"/>
                </a:solidFill>
                <a:latin typeface="Trebuchet MS" panose="020B0603020202020204" pitchFamily="34" charset="0"/>
                <a:sym typeface="Trebuchet MS" panose="020B0603020202020204" pitchFamily="34" charset="0"/>
              </a:defRPr>
            </a:lvl9pPr>
          </a:lstStyle>
          <a:p>
            <a:r>
              <a:rPr lang="en-US" altLang="zh-CN" sz="1800" dirty="0">
                <a:solidFill>
                  <a:srgbClr val="29BA74"/>
                </a:solidFill>
              </a:rPr>
              <a:t>What to Target</a:t>
            </a:r>
            <a:endParaRPr sz="1800" dirty="0">
              <a:solidFill>
                <a:srgbClr val="29BA74"/>
              </a:solidFill>
            </a:endParaRPr>
          </a:p>
        </p:txBody>
      </p:sp>
      <p:sp>
        <p:nvSpPr>
          <p:cNvPr id="17" name="ee4pContent2">
            <a:extLst>
              <a:ext uri="{FF2B5EF4-FFF2-40B4-BE49-F238E27FC236}">
                <a16:creationId xmlns:a16="http://schemas.microsoft.com/office/drawing/2014/main" id="{B8FEAF86-5688-EC94-6EDA-EACCF4184A15}"/>
              </a:ext>
            </a:extLst>
          </p:cNvPr>
          <p:cNvSpPr txBox="1"/>
          <p:nvPr/>
        </p:nvSpPr>
        <p:spPr>
          <a:xfrm>
            <a:off x="3157268" y="4922790"/>
            <a:ext cx="8551044" cy="1969770"/>
          </a:xfrm>
          <a:prstGeom prst="rect">
            <a:avLst/>
          </a:prstGeom>
        </p:spPr>
        <p:txBody>
          <a:bodyPr vert="horz" wrap="square" lIns="0" tIns="0" rIns="0" bIns="0" rtlCol="0" anchorCtr="0">
            <a:spAutoFit/>
          </a:bodyPr>
          <a:lstStyle>
            <a:lvl1pPr lvl="0" indent="0">
              <a:lnSpc>
                <a:spcPct val="110000"/>
              </a:lnSpc>
              <a:spcBef>
                <a:spcPts val="600"/>
              </a:spcBef>
              <a:spcAft>
                <a:spcPts val="300"/>
              </a:spcAft>
              <a:buFont typeface="Arial" panose="020B0604020202020204" pitchFamily="34" charset="0"/>
              <a:buChar char="​"/>
              <a:defRPr lang="en-US" sz="1200">
                <a:latin typeface="Trebuchet MS" panose="020B0603020202020204" pitchFamily="34" charset="0"/>
                <a:sym typeface="Trebuchet MS" panose="020B0603020202020204" pitchFamily="34" charset="0"/>
              </a:defRPr>
            </a:lvl1pPr>
            <a:lvl2pPr marL="284400" lvl="1" indent="-172800">
              <a:lnSpc>
                <a:spcPct val="90000"/>
              </a:lnSpc>
              <a:spcBef>
                <a:spcPts val="0"/>
              </a:spcBef>
              <a:spcAft>
                <a:spcPts val="300"/>
              </a:spcAft>
              <a:buClr>
                <a:schemeClr val="tx2"/>
              </a:buClr>
              <a:buFont typeface="Arial" panose="020B0604020202020204" pitchFamily="34" charset="0"/>
              <a:buChar char="•"/>
              <a:defRPr lang="en-US" sz="1200">
                <a:latin typeface="Trebuchet MS" panose="020B0603020202020204" pitchFamily="34" charset="0"/>
                <a:sym typeface="Trebuchet MS" panose="020B0603020202020204" pitchFamily="34" charset="0"/>
              </a:defRPr>
            </a:lvl2pPr>
            <a:lvl3pPr marL="511200" lvl="2" indent="-165600">
              <a:lnSpc>
                <a:spcPct val="90000"/>
              </a:lnSpc>
              <a:spcBef>
                <a:spcPts val="0"/>
              </a:spcBef>
              <a:spcAft>
                <a:spcPts val="30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3pPr>
            <a:lvl4pPr marL="0" lvl="3" indent="0">
              <a:lnSpc>
                <a:spcPct val="110000"/>
              </a:lnSpc>
              <a:spcBef>
                <a:spcPts val="300"/>
              </a:spcBef>
              <a:spcAft>
                <a:spcPts val="300"/>
              </a:spcAft>
              <a:buClr>
                <a:schemeClr val="tx2"/>
              </a:buClr>
              <a:buFont typeface="Arial" panose="020B0604020202020204" pitchFamily="34" charset="0"/>
              <a:buChar char="​"/>
              <a:defRPr lang="en-US" sz="16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300"/>
              </a:spcAft>
              <a:buClrTx/>
              <a:buFont typeface="Arial" panose="020B0604020202020204" pitchFamily="34" charset="0"/>
              <a:buChar char="​"/>
              <a:defRPr lang="en-US" sz="1600" b="1" smtClean="0">
                <a:latin typeface="Trebuchet MS" panose="020B0603020202020204" pitchFamily="34" charset="0"/>
                <a:sym typeface="Trebuchet MS" panose="020B0603020202020204" pitchFamily="34" charset="0"/>
              </a:defRPr>
            </a:lvl5pPr>
            <a:lvl6pPr marL="269875" lvl="5" indent="-152400">
              <a:lnSpc>
                <a:spcPct val="90000"/>
              </a:lnSpc>
              <a:spcBef>
                <a:spcPts val="0"/>
              </a:spcBef>
              <a:spcAft>
                <a:spcPts val="600"/>
              </a:spcAft>
              <a:buClr>
                <a:schemeClr val="tx2"/>
              </a:buClr>
              <a:buFont typeface="Arial" panose="020B0604020202020204" pitchFamily="34" charset="0"/>
              <a:buChar char="•"/>
              <a:defRPr lang="en-US" sz="1600" smtClean="0">
                <a:latin typeface="Trebuchet MS" panose="020B0603020202020204" pitchFamily="34" charset="0"/>
                <a:sym typeface="Trebuchet MS" panose="020B0603020202020204" pitchFamily="34" charset="0"/>
              </a:defRPr>
            </a:lvl6pPr>
            <a:lvl7pPr marL="0" lvl="6" indent="0">
              <a:lnSpc>
                <a:spcPct val="90000"/>
              </a:lnSpc>
              <a:spcBef>
                <a:spcPts val="900"/>
              </a:spcBef>
              <a:spcAft>
                <a:spcPts val="900"/>
              </a:spcAft>
              <a:buFont typeface="Arial" panose="020B0604020202020204" pitchFamily="34" charset="0"/>
              <a:buChar char="​"/>
              <a:defRPr lang="en-US" sz="4400" baseline="0" smtClean="0">
                <a:latin typeface="Trebuchet MS" panose="020B0603020202020204" pitchFamily="34" charset="0"/>
                <a:sym typeface="Trebuchet MS" panose="020B0603020202020204" pitchFamily="34" charset="0"/>
              </a:defRPr>
            </a:lvl7pPr>
            <a:lvl8pPr marL="0" lvl="7" indent="0">
              <a:lnSpc>
                <a:spcPct val="90000"/>
              </a:lnSpc>
              <a:spcBef>
                <a:spcPts val="900"/>
              </a:spcBef>
              <a:spcAft>
                <a:spcPts val="0"/>
              </a:spcAft>
              <a:buFont typeface="Arial" panose="020B0604020202020204" pitchFamily="34" charset="0"/>
              <a:buChar char="​"/>
              <a:defRPr lang="en-US" sz="5400" baseline="0" smtClean="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900"/>
              </a:spcAft>
              <a:buFont typeface="Arial" panose="020B0604020202020204" pitchFamily="34" charset="0"/>
              <a:buChar char="​"/>
              <a:defRPr lang="en-US" sz="2400" baseline="0" dirty="0">
                <a:solidFill>
                  <a:schemeClr val="tx2"/>
                </a:solidFill>
                <a:latin typeface="Trebuchet MS" panose="020B0603020202020204" pitchFamily="34" charset="0"/>
                <a:sym typeface="Trebuchet MS" panose="020B0603020202020204" pitchFamily="34" charset="0"/>
              </a:defRPr>
            </a:lvl9pPr>
          </a:lstStyle>
          <a:p>
            <a:pPr>
              <a:lnSpc>
                <a:spcPct val="100000"/>
              </a:lnSpc>
              <a:spcBef>
                <a:spcPts val="0"/>
              </a:spcBef>
              <a:spcAft>
                <a:spcPts val="600"/>
              </a:spcAft>
              <a:buSzPct val="100000"/>
              <a:buFont typeface="Trebuchet MS" panose="020B0603020202020204" pitchFamily="34" charset="0"/>
              <a:buChar char="​"/>
            </a:pPr>
            <a:r>
              <a:rPr sz="1800" b="1" dirty="0">
                <a:solidFill>
                  <a:schemeClr val="tx1">
                    <a:lumMod val="100000"/>
                  </a:schemeClr>
                </a:solidFill>
                <a:effectLst>
                  <a:glow>
                    <a:srgbClr val="000000"/>
                  </a:glow>
                </a:effectLst>
              </a:rPr>
              <a:t>Strategy</a:t>
            </a:r>
            <a:r>
              <a:rPr sz="1800" dirty="0">
                <a:solidFill>
                  <a:schemeClr val="tx1">
                    <a:lumMod val="100000"/>
                  </a:schemeClr>
                </a:solidFill>
                <a:effectLst>
                  <a:glow>
                    <a:srgbClr val="000000"/>
                  </a:glow>
                </a:effectLst>
              </a:rPr>
              <a:t>: In personalized messages, stress how the journey/facilities on the ship are attractive to young people/ families with exquisite taste.</a:t>
            </a:r>
          </a:p>
          <a:p>
            <a:pPr>
              <a:lnSpc>
                <a:spcPct val="100000"/>
              </a:lnSpc>
              <a:spcBef>
                <a:spcPts val="0"/>
              </a:spcBef>
              <a:spcAft>
                <a:spcPts val="600"/>
              </a:spcAft>
              <a:buSzPct val="100000"/>
              <a:buFont typeface="Trebuchet MS" panose="020B0603020202020204" pitchFamily="34" charset="0"/>
              <a:buChar char="​"/>
            </a:pPr>
            <a:r>
              <a:rPr lang="en-US" sz="1800" dirty="0">
                <a:solidFill>
                  <a:schemeClr val="tx1">
                    <a:lumMod val="100000"/>
                  </a:schemeClr>
                </a:solidFill>
                <a:effectLst>
                  <a:glow>
                    <a:srgbClr val="000000"/>
                  </a:glow>
                </a:effectLst>
              </a:rPr>
              <a:t>Examples of further segmentation:</a:t>
            </a:r>
            <a:endParaRPr sz="1800" dirty="0">
              <a:solidFill>
                <a:schemeClr val="tx1">
                  <a:lumMod val="100000"/>
                </a:schemeClr>
              </a:solidFill>
              <a:effectLst>
                <a:glow>
                  <a:srgbClr val="000000"/>
                </a:glow>
              </a:effectLst>
            </a:endParaRPr>
          </a:p>
          <a:p>
            <a:pPr>
              <a:lnSpc>
                <a:spcPct val="100000"/>
              </a:lnSpc>
              <a:spcBef>
                <a:spcPts val="0"/>
              </a:spcBef>
              <a:spcAft>
                <a:spcPts val="600"/>
              </a:spcAft>
              <a:buSzPct val="100000"/>
              <a:buFont typeface="Trebuchet MS" panose="020B0603020202020204" pitchFamily="34" charset="0"/>
              <a:buChar char="​"/>
            </a:pPr>
            <a:r>
              <a:rPr lang="en-US" sz="1800" dirty="0">
                <a:solidFill>
                  <a:schemeClr val="tx1">
                    <a:lumMod val="100000"/>
                  </a:schemeClr>
                </a:solidFill>
                <a:effectLst>
                  <a:glow>
                    <a:srgbClr val="000000"/>
                  </a:glow>
                </a:effectLst>
              </a:rPr>
              <a:t>- Fare Type: If guest’s income is from $434 -  $ 464 -&gt; promote “Early Saver”</a:t>
            </a:r>
          </a:p>
          <a:p>
            <a:pPr>
              <a:lnSpc>
                <a:spcPct val="100000"/>
              </a:lnSpc>
              <a:spcBef>
                <a:spcPts val="0"/>
              </a:spcBef>
              <a:spcAft>
                <a:spcPts val="600"/>
              </a:spcAft>
              <a:buSzPct val="100000"/>
              <a:buFont typeface="Trebuchet MS" panose="020B0603020202020204" pitchFamily="34" charset="0"/>
              <a:buChar char="​"/>
            </a:pPr>
            <a:r>
              <a:rPr lang="en-US" sz="1800" dirty="0">
                <a:solidFill>
                  <a:schemeClr val="tx1">
                    <a:lumMod val="100000"/>
                  </a:schemeClr>
                </a:solidFill>
                <a:effectLst>
                  <a:glow>
                    <a:srgbClr val="000000"/>
                  </a:glow>
                </a:effectLst>
              </a:rPr>
              <a:t>- Cabin Meta: If guest’s income is from $434 - $ 458 -&gt; promote “Inside”</a:t>
            </a:r>
          </a:p>
          <a:p>
            <a:pPr>
              <a:lnSpc>
                <a:spcPct val="100000"/>
              </a:lnSpc>
              <a:spcBef>
                <a:spcPts val="0"/>
              </a:spcBef>
              <a:spcAft>
                <a:spcPts val="600"/>
              </a:spcAft>
              <a:buSzPct val="100000"/>
              <a:buFont typeface="Trebuchet MS" panose="020B0603020202020204" pitchFamily="34" charset="0"/>
              <a:buChar char="​"/>
            </a:pPr>
            <a:endParaRPr sz="1800" dirty="0">
              <a:solidFill>
                <a:schemeClr val="tx1">
                  <a:lumMod val="100000"/>
                </a:schemeClr>
              </a:solidFill>
              <a:effectLst>
                <a:glow>
                  <a:srgbClr val="000000"/>
                </a:glow>
              </a:effectLst>
            </a:endParaRPr>
          </a:p>
        </p:txBody>
      </p:sp>
    </p:spTree>
    <p:extLst>
      <p:ext uri="{BB962C8B-B14F-4D97-AF65-F5344CB8AC3E}">
        <p14:creationId xmlns:p14="http://schemas.microsoft.com/office/powerpoint/2010/main" val="38242273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9DE266A-FAB0-DDA6-EE7B-79E134F8DEB2}"/>
              </a:ext>
            </a:extLst>
          </p:cNvPr>
          <p:cNvSpPr>
            <a:spLocks noGrp="1"/>
          </p:cNvSpPr>
          <p:nvPr>
            <p:ph type="title"/>
          </p:nvPr>
        </p:nvSpPr>
        <p:spPr/>
        <p:txBody>
          <a:bodyPr/>
          <a:lstStyle/>
          <a:p>
            <a:r>
              <a:rPr lang="en-US" dirty="0"/>
              <a:t>Other Considerations</a:t>
            </a:r>
          </a:p>
        </p:txBody>
      </p:sp>
      <p:sp>
        <p:nvSpPr>
          <p:cNvPr id="4" name="TextBox 3">
            <a:extLst>
              <a:ext uri="{FF2B5EF4-FFF2-40B4-BE49-F238E27FC236}">
                <a16:creationId xmlns:a16="http://schemas.microsoft.com/office/drawing/2014/main" id="{8A56C7A9-D410-C372-DE4C-97EA2B40D2B2}"/>
              </a:ext>
            </a:extLst>
          </p:cNvPr>
          <p:cNvSpPr txBox="1"/>
          <p:nvPr/>
        </p:nvSpPr>
        <p:spPr>
          <a:xfrm>
            <a:off x="562774" y="1204220"/>
            <a:ext cx="11231439" cy="8156079"/>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marR="0" lvl="0" algn="l" defTabSz="914400" rtl="0" eaLnBrk="1" fontAlgn="auto" latinLnBrk="0" hangingPunct="1">
              <a:lnSpc>
                <a:spcPct val="100000"/>
              </a:lnSpc>
              <a:spcBef>
                <a:spcPts val="0"/>
              </a:spcBef>
              <a:spcAft>
                <a:spcPts val="0"/>
              </a:spcAft>
              <a:buClrTx/>
              <a:buSzTx/>
              <a:tabLst/>
              <a:defRPr/>
            </a:pPr>
            <a:r>
              <a:rPr lang="en-US" dirty="0">
                <a:solidFill>
                  <a:srgbClr val="29BA74"/>
                </a:solidFill>
              </a:rPr>
              <a:t>1. K-Prototype Clustering Model</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575757"/>
                </a:solidFill>
                <a:effectLst/>
                <a:uLnTx/>
                <a:uFillTx/>
                <a:latin typeface="Trebuchet MS"/>
                <a:ea typeface="+mn-ea"/>
                <a:cs typeface="+mn-cs"/>
              </a:rPr>
              <a:t>Identified </a:t>
            </a:r>
            <a:r>
              <a:rPr lang="en-US" sz="1600" dirty="0">
                <a:solidFill>
                  <a:srgbClr val="575757"/>
                </a:solidFill>
                <a:latin typeface="Trebuchet MS"/>
              </a:rPr>
              <a:t>number of clusters through the elbow method</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600" dirty="0">
                <a:solidFill>
                  <a:srgbClr val="575757"/>
                </a:solidFill>
                <a:latin typeface="Trebuchet MS"/>
              </a:rPr>
              <a:t>Help better understand the composition of guest population</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600" dirty="0">
              <a:solidFill>
                <a:srgbClr val="575757"/>
              </a:solidFill>
              <a:latin typeface="Trebuchet M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solidFill>
                  <a:srgbClr val="29BA74"/>
                </a:solidFill>
                <a:latin typeface="Trebuchet MS"/>
              </a:rPr>
              <a:t>2</a:t>
            </a:r>
            <a:r>
              <a:rPr kumimoji="0" lang="en-US" sz="1800" b="0" i="0" u="none" strike="noStrike" kern="1200" cap="none" spc="0" normalizeH="0" baseline="0" noProof="0" dirty="0">
                <a:ln>
                  <a:noFill/>
                </a:ln>
                <a:solidFill>
                  <a:srgbClr val="29BA74"/>
                </a:solidFill>
                <a:effectLst/>
                <a:uLnTx/>
                <a:uFillTx/>
                <a:latin typeface="Trebuchet MS"/>
                <a:ea typeface="+mn-ea"/>
                <a:cs typeface="+mn-cs"/>
              </a:rPr>
              <a:t>. Other Variables Helpful for Personalization</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600" dirty="0">
                <a:solidFill>
                  <a:srgbClr val="575757"/>
                </a:solidFill>
                <a:latin typeface="Trebuchet MS"/>
              </a:rPr>
              <a:t>Cruises Completed with HAL: a measure of loyalty -&gt; Targeting Priority</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600" dirty="0">
                <a:solidFill>
                  <a:srgbClr val="575757"/>
                </a:solidFill>
                <a:latin typeface="Trebuchet MS"/>
              </a:rPr>
              <a:t>Cruise Experience:</a:t>
            </a:r>
          </a:p>
          <a:p>
            <a:pPr marL="742950" lvl="1" indent="-285750">
              <a:buFont typeface="Arial" panose="020B0604020202020204" pitchFamily="34" charset="0"/>
              <a:buChar char="•"/>
              <a:defRPr/>
            </a:pPr>
            <a:r>
              <a:rPr lang="en-US" sz="1600" dirty="0">
                <a:solidFill>
                  <a:srgbClr val="575757"/>
                </a:solidFill>
                <a:latin typeface="Trebuchet MS"/>
              </a:rPr>
              <a:t>Newcomer: no information about the new guest -&gt; Recommend the most well-established cruise lines</a:t>
            </a:r>
          </a:p>
          <a:p>
            <a:pPr marL="742950" lvl="1" indent="-285750">
              <a:buFont typeface="Arial" panose="020B0604020202020204" pitchFamily="34" charset="0"/>
              <a:buChar char="•"/>
              <a:defRPr/>
            </a:pPr>
            <a:r>
              <a:rPr lang="en-US" sz="1600" dirty="0">
                <a:solidFill>
                  <a:srgbClr val="575757"/>
                </a:solidFill>
                <a:latin typeface="Trebuchet MS"/>
              </a:rPr>
              <a:t>Past Guest with high number of Cruises Completed with HAL -&gt; Whenever we have new cruises, make them top priorities of marketing effort.</a:t>
            </a:r>
          </a:p>
          <a:p>
            <a:pPr>
              <a:defRPr/>
            </a:pPr>
            <a:endParaRPr lang="en-US" sz="1600" dirty="0">
              <a:solidFill>
                <a:srgbClr val="575757"/>
              </a:solidFill>
              <a:latin typeface="Trebuchet M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solidFill>
                  <a:srgbClr val="29BA74"/>
                </a:solidFill>
                <a:latin typeface="Trebuchet MS"/>
              </a:rPr>
              <a:t>3</a:t>
            </a:r>
            <a:r>
              <a:rPr kumimoji="0" lang="en-US" sz="1800" b="0" i="0" u="none" strike="noStrike" kern="1200" cap="none" spc="0" normalizeH="0" baseline="0" noProof="0" dirty="0">
                <a:ln>
                  <a:noFill/>
                </a:ln>
                <a:solidFill>
                  <a:srgbClr val="29BA74"/>
                </a:solidFill>
                <a:effectLst/>
                <a:uLnTx/>
                <a:uFillTx/>
                <a:latin typeface="Trebuchet MS"/>
                <a:ea typeface="+mn-ea"/>
                <a:cs typeface="+mn-cs"/>
              </a:rPr>
              <a:t>. Other Means of Contact</a:t>
            </a:r>
          </a:p>
          <a:p>
            <a:pPr marL="285750" indent="-285750">
              <a:buFont typeface="Arial" panose="020B0604020202020204" pitchFamily="34" charset="0"/>
              <a:buChar char="•"/>
              <a:defRPr/>
            </a:pPr>
            <a:r>
              <a:rPr lang="en-US" sz="1600" dirty="0">
                <a:solidFill>
                  <a:srgbClr val="575757"/>
                </a:solidFill>
                <a:latin typeface="Trebuchet MS"/>
              </a:rPr>
              <a:t>Expanding means of contact to include apps, live chat, phone calls, text messages</a:t>
            </a:r>
          </a:p>
          <a:p>
            <a:pPr marL="285750" indent="-285750">
              <a:buFont typeface="Arial" panose="020B0604020202020204" pitchFamily="34" charset="0"/>
              <a:buChar char="•"/>
              <a:defRPr/>
            </a:pPr>
            <a:r>
              <a:rPr lang="en-US" sz="1600" dirty="0">
                <a:solidFill>
                  <a:srgbClr val="575757"/>
                </a:solidFill>
                <a:latin typeface="Trebuchet MS"/>
              </a:rPr>
              <a:t>It is important to balance conversion rate against cost</a:t>
            </a:r>
          </a:p>
          <a:p>
            <a:pPr marL="285750" indent="-285750">
              <a:buFont typeface="Arial" panose="020B0604020202020204" pitchFamily="34" charset="0"/>
              <a:buChar char="•"/>
              <a:defRPr/>
            </a:pPr>
            <a:endParaRPr lang="en-US" sz="1600" dirty="0">
              <a:solidFill>
                <a:srgbClr val="575757"/>
              </a:solidFill>
              <a:latin typeface="Trebuchet M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BA74"/>
                </a:solidFill>
                <a:effectLst/>
                <a:uLnTx/>
                <a:uFillTx/>
                <a:latin typeface="Trebuchet MS"/>
                <a:ea typeface="+mn-ea"/>
                <a:cs typeface="+mn-cs"/>
              </a:rPr>
              <a:t>3. Collect more data</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600" dirty="0">
                <a:solidFill>
                  <a:srgbClr val="575757"/>
                </a:solidFill>
                <a:latin typeface="Trebuchet MS"/>
              </a:rPr>
              <a:t>To find the optimal frequency/time of sending mails/emails to increase response rate</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600" dirty="0">
                <a:solidFill>
                  <a:srgbClr val="575757"/>
                </a:solidFill>
                <a:latin typeface="Trebuchet MS"/>
              </a:rPr>
              <a:t>After launching the marketing campaigns, collect data on whether the guest responded to the email or not. With sufficient training data, we could build classification models to predict customer response. This will help HAL optimize ways of personalization in the future.</a:t>
            </a:r>
          </a:p>
          <a:p>
            <a:pPr>
              <a:defRPr/>
            </a:pPr>
            <a:endParaRPr lang="en-US" sz="1600" dirty="0">
              <a:solidFill>
                <a:srgbClr val="575757"/>
              </a:solidFill>
              <a:latin typeface="Trebuchet M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29BA74"/>
              </a:solidFill>
              <a:effectLst/>
              <a:uLnTx/>
              <a:uFillTx/>
              <a:latin typeface="Trebuchet MS"/>
              <a:ea typeface="+mn-ea"/>
              <a:cs typeface="+mn-cs"/>
            </a:endParaRPr>
          </a:p>
          <a:p>
            <a:pPr>
              <a:defRPr/>
            </a:pPr>
            <a:endParaRPr lang="en-US" sz="1600" dirty="0">
              <a:solidFill>
                <a:srgbClr val="575757"/>
              </a:solidFill>
              <a:latin typeface="Trebuchet M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600" dirty="0">
              <a:solidFill>
                <a:srgbClr val="575757"/>
              </a:solidFill>
              <a:latin typeface="Trebuchet M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800" b="0" i="0" u="none" strike="noStrike" kern="1200" cap="none" spc="0" normalizeH="0" baseline="0" noProof="0" dirty="0">
              <a:ln>
                <a:noFill/>
              </a:ln>
              <a:solidFill>
                <a:srgbClr val="29BA74"/>
              </a:solidFill>
              <a:effectLst/>
              <a:uLnTx/>
              <a:uFillTx/>
              <a:latin typeface="Trebuchet MS"/>
              <a:ea typeface="+mn-ea"/>
              <a:cs typeface="+mn-cs"/>
            </a:endParaRPr>
          </a:p>
          <a:p>
            <a:pPr marR="0" lvl="0" algn="l" defTabSz="914400" rtl="0" eaLnBrk="1" fontAlgn="auto" latinLnBrk="0" hangingPunct="1">
              <a:lnSpc>
                <a:spcPct val="100000"/>
              </a:lnSpc>
              <a:spcBef>
                <a:spcPts val="0"/>
              </a:spcBef>
              <a:spcAft>
                <a:spcPts val="0"/>
              </a:spcAft>
              <a:buClrTx/>
              <a:buSzTx/>
              <a:tabLst/>
              <a:defRPr/>
            </a:pPr>
            <a:endParaRPr lang="en-US" sz="1600" dirty="0">
              <a:solidFill>
                <a:srgbClr val="575757"/>
              </a:solidFill>
              <a:latin typeface="Trebuchet M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600" b="0" i="0" u="none" strike="noStrike" kern="1200" cap="none" spc="0" normalizeH="0" baseline="0" noProof="0" dirty="0">
              <a:ln>
                <a:noFill/>
              </a:ln>
              <a:solidFill>
                <a:srgbClr val="575757"/>
              </a:solidFill>
              <a:effectLst/>
              <a:uLnTx/>
              <a:uFillTx/>
              <a:latin typeface="Trebuchet MS"/>
              <a:ea typeface="+mn-ea"/>
              <a:cs typeface="+mn-cs"/>
            </a:endParaRPr>
          </a:p>
          <a:p>
            <a:pPr marR="0" lvl="0" algn="l" defTabSz="914400" rtl="0" eaLnBrk="1" fontAlgn="auto" latinLnBrk="0" hangingPunct="1">
              <a:lnSpc>
                <a:spcPct val="100000"/>
              </a:lnSpc>
              <a:spcBef>
                <a:spcPts val="0"/>
              </a:spcBef>
              <a:spcAft>
                <a:spcPts val="0"/>
              </a:spcAft>
              <a:buClrTx/>
              <a:buSzTx/>
              <a:tabLst/>
              <a:defRPr/>
            </a:pPr>
            <a:endParaRPr kumimoji="0" lang="en-US" sz="1600" b="0" i="0" u="none" strike="noStrike" kern="1200" cap="none" spc="0" normalizeH="0" baseline="0" noProof="0" dirty="0">
              <a:ln>
                <a:noFill/>
              </a:ln>
              <a:solidFill>
                <a:srgbClr val="575757"/>
              </a:solidFill>
              <a:effectLst/>
              <a:uLnTx/>
              <a:uFillTx/>
              <a:latin typeface="Trebuchet MS"/>
              <a:ea typeface="+mn-ea"/>
              <a:cs typeface="+mn-cs"/>
            </a:endParaRPr>
          </a:p>
          <a:p>
            <a:pPr marR="0" lvl="0" algn="l" defTabSz="914400" rtl="0" eaLnBrk="1" fontAlgn="auto" latinLnBrk="0" hangingPunct="1">
              <a:lnSpc>
                <a:spcPct val="100000"/>
              </a:lnSpc>
              <a:spcBef>
                <a:spcPts val="0"/>
              </a:spcBef>
              <a:spcAft>
                <a:spcPts val="0"/>
              </a:spcAft>
              <a:buClrTx/>
              <a:buSzTx/>
              <a:tabLst/>
              <a:defRPr/>
            </a:pPr>
            <a:endParaRPr lang="en-US" sz="1600" dirty="0">
              <a:solidFill>
                <a:srgbClr val="575757"/>
              </a:solidFill>
              <a:latin typeface="Trebuchet MS"/>
            </a:endParaRPr>
          </a:p>
          <a:p>
            <a:pPr marR="0" lvl="0" algn="l" defTabSz="914400" rtl="0" eaLnBrk="1" fontAlgn="auto" latinLnBrk="0" hangingPunct="1">
              <a:lnSpc>
                <a:spcPct val="100000"/>
              </a:lnSpc>
              <a:spcBef>
                <a:spcPts val="0"/>
              </a:spcBef>
              <a:spcAft>
                <a:spcPts val="0"/>
              </a:spcAft>
              <a:buClrTx/>
              <a:buSzTx/>
              <a:tabLst/>
              <a:defRPr/>
            </a:pPr>
            <a:endParaRPr lang="en-US" sz="1600" dirty="0">
              <a:solidFill>
                <a:srgbClr val="575757"/>
              </a:solidFill>
              <a:latin typeface="Trebuchet MS"/>
            </a:endParaRPr>
          </a:p>
          <a:p>
            <a:pPr marR="0" lvl="0" algn="l" defTabSz="914400" rtl="0" eaLnBrk="1" fontAlgn="auto" latinLnBrk="0" hangingPunct="1">
              <a:lnSpc>
                <a:spcPct val="100000"/>
              </a:lnSpc>
              <a:spcBef>
                <a:spcPts val="0"/>
              </a:spcBef>
              <a:spcAft>
                <a:spcPts val="0"/>
              </a:spcAft>
              <a:buClrTx/>
              <a:buSzTx/>
              <a:tabLst/>
              <a:defRPr/>
            </a:pPr>
            <a:endParaRPr kumimoji="0" lang="en-US" sz="1600" b="0" i="0" u="none" strike="noStrike" kern="1200" cap="none" spc="0" normalizeH="0" baseline="0" noProof="0" dirty="0">
              <a:ln>
                <a:noFill/>
              </a:ln>
              <a:solidFill>
                <a:srgbClr val="575757"/>
              </a:solidFill>
              <a:effectLst/>
              <a:uLnTx/>
              <a:uFillTx/>
              <a:latin typeface="Trebuchet MS"/>
              <a:ea typeface="+mn-ea"/>
              <a:cs typeface="+mn-cs"/>
            </a:endParaRPr>
          </a:p>
        </p:txBody>
      </p:sp>
      <p:pic>
        <p:nvPicPr>
          <p:cNvPr id="6" name="Picture 5">
            <a:extLst>
              <a:ext uri="{FF2B5EF4-FFF2-40B4-BE49-F238E27FC236}">
                <a16:creationId xmlns:a16="http://schemas.microsoft.com/office/drawing/2014/main" id="{15CF63F3-07EE-AE1B-F25E-0B83956CC4C0}"/>
              </a:ext>
            </a:extLst>
          </p:cNvPr>
          <p:cNvPicPr>
            <a:picLocks noChangeAspect="1"/>
          </p:cNvPicPr>
          <p:nvPr/>
        </p:nvPicPr>
        <p:blipFill>
          <a:blip r:embed="rId2"/>
          <a:stretch>
            <a:fillRect/>
          </a:stretch>
        </p:blipFill>
        <p:spPr>
          <a:xfrm>
            <a:off x="7855128" y="1093698"/>
            <a:ext cx="2451226" cy="1790792"/>
          </a:xfrm>
          <a:prstGeom prst="rect">
            <a:avLst/>
          </a:prstGeom>
        </p:spPr>
      </p:pic>
    </p:spTree>
    <p:extLst>
      <p:ext uri="{BB962C8B-B14F-4D97-AF65-F5344CB8AC3E}">
        <p14:creationId xmlns:p14="http://schemas.microsoft.com/office/powerpoint/2010/main" val="21499041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216" imgH="216" progId="TCLayout.ActiveDocument.1">
                  <p:embed/>
                </p:oleObj>
              </mc:Choice>
              <mc:Fallback>
                <p:oleObj name="think-cell Slide" r:id="rId5" imgW="216" imgH="216"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dirty="0"/>
              <a:t>Overview </a:t>
            </a:r>
          </a:p>
        </p:txBody>
      </p:sp>
      <p:cxnSp>
        <p:nvCxnSpPr>
          <p:cNvPr id="22" name="Straight Arrow Connector 21"/>
          <p:cNvCxnSpPr/>
          <p:nvPr/>
        </p:nvCxnSpPr>
        <p:spPr>
          <a:xfrm rot="10800000" flipV="1">
            <a:off x="630000" y="1429524"/>
            <a:ext cx="0" cy="220911"/>
          </a:xfrm>
          <a:prstGeom prst="straightConnector1">
            <a:avLst/>
          </a:prstGeom>
          <a:ln w="9525">
            <a:solidFill>
              <a:schemeClr val="accent5"/>
            </a:solidFill>
            <a:miter lim="800000"/>
            <a:tailEnd type="triangle" w="med" len="med"/>
          </a:ln>
        </p:spPr>
        <p:style>
          <a:lnRef idx="1">
            <a:schemeClr val="accent1"/>
          </a:lnRef>
          <a:fillRef idx="0">
            <a:schemeClr val="accent1"/>
          </a:fillRef>
          <a:effectRef idx="0">
            <a:schemeClr val="accent1"/>
          </a:effectRef>
          <a:fontRef idx="minor">
            <a:schemeClr val="tx1"/>
          </a:fontRef>
        </p:style>
      </p:cxnSp>
      <p:grpSp>
        <p:nvGrpSpPr>
          <p:cNvPr id="33" name="Group 32"/>
          <p:cNvGrpSpPr/>
          <p:nvPr/>
        </p:nvGrpSpPr>
        <p:grpSpPr>
          <a:xfrm rot="10800000">
            <a:off x="630000" y="1429524"/>
            <a:ext cx="10935900" cy="220911"/>
            <a:chOff x="746760" y="6055739"/>
            <a:chExt cx="10935900" cy="304800"/>
          </a:xfrm>
        </p:grpSpPr>
        <p:cxnSp>
          <p:nvCxnSpPr>
            <p:cNvPr id="34" name="Straight Connector 33"/>
            <p:cNvCxnSpPr/>
            <p:nvPr/>
          </p:nvCxnSpPr>
          <p:spPr>
            <a:xfrm rot="10800000">
              <a:off x="746760" y="6360539"/>
              <a:ext cx="10935900" cy="0"/>
            </a:xfrm>
            <a:prstGeom prst="line">
              <a:avLst/>
            </a:prstGeom>
            <a:ln w="9525">
              <a:solidFill>
                <a:schemeClr val="accent5"/>
              </a:solidFill>
              <a:miter lim="800000"/>
            </a:ln>
          </p:spPr>
          <p:style>
            <a:lnRef idx="1">
              <a:schemeClr val="accent1"/>
            </a:lnRef>
            <a:fillRef idx="0">
              <a:schemeClr val="accent1"/>
            </a:fillRef>
            <a:effectRef idx="0">
              <a:schemeClr val="accent1"/>
            </a:effectRef>
            <a:fontRef idx="minor">
              <a:schemeClr val="tx1"/>
            </a:fontRef>
          </p:style>
        </p:cxnSp>
        <p:cxnSp>
          <p:nvCxnSpPr>
            <p:cNvPr id="35" name="Straight Arrow Connector 34"/>
            <p:cNvCxnSpPr/>
            <p:nvPr/>
          </p:nvCxnSpPr>
          <p:spPr>
            <a:xfrm flipV="1">
              <a:off x="746760" y="6055739"/>
              <a:ext cx="0" cy="304800"/>
            </a:xfrm>
            <a:prstGeom prst="straightConnector1">
              <a:avLst/>
            </a:prstGeom>
            <a:ln w="9525">
              <a:solidFill>
                <a:schemeClr val="accent5"/>
              </a:solidFill>
              <a:miter lim="800000"/>
              <a:tailEnd type="triangle" w="med" len="med"/>
            </a:ln>
          </p:spPr>
          <p:style>
            <a:lnRef idx="1">
              <a:schemeClr val="accent1"/>
            </a:lnRef>
            <a:fillRef idx="0">
              <a:schemeClr val="accent1"/>
            </a:fillRef>
            <a:effectRef idx="0">
              <a:schemeClr val="accent1"/>
            </a:effectRef>
            <a:fontRef idx="minor">
              <a:schemeClr val="tx1"/>
            </a:fontRef>
          </p:style>
        </p:cxnSp>
      </p:grpSp>
      <p:sp>
        <p:nvSpPr>
          <p:cNvPr id="4" name="TextBox 3"/>
          <p:cNvSpPr txBox="1"/>
          <p:nvPr/>
        </p:nvSpPr>
        <p:spPr>
          <a:xfrm>
            <a:off x="3507900" y="1274706"/>
            <a:ext cx="5180100" cy="332399"/>
          </a:xfrm>
          <a:prstGeom prst="rect">
            <a:avLst/>
          </a:prstGeom>
          <a:solidFill>
            <a:schemeClr val="bg2"/>
          </a:solidFill>
        </p:spPr>
        <p:txBody>
          <a:bodyPr wrap="square" lIns="0" tIns="0" rIns="0" bIns="0" rtlCol="0" anchor="t">
            <a:spAutoFit/>
          </a:bodyPr>
          <a:lstStyle/>
          <a:p>
            <a:pPr marL="271463" marR="0" lvl="0" indent="0" algn="ctr" defTabSz="914400" rtl="0" eaLnBrk="1" fontAlgn="auto" latinLnBrk="0" hangingPunct="1">
              <a:lnSpc>
                <a:spcPct val="90000"/>
              </a:lnSpc>
              <a:spcBef>
                <a:spcPts val="0"/>
              </a:spcBef>
              <a:spcAft>
                <a:spcPts val="600"/>
              </a:spcAft>
              <a:buClrTx/>
              <a:buSzTx/>
              <a:buFontTx/>
              <a:buNone/>
              <a:tabLst/>
              <a:defRPr/>
            </a:pPr>
            <a:r>
              <a:rPr lang="en-US" altLang="zh-CN" sz="2400" dirty="0">
                <a:solidFill>
                  <a:srgbClr val="29BA74"/>
                </a:solidFill>
                <a:latin typeface="Trebuchet MS"/>
              </a:rPr>
              <a:t>Goal of the Case Study</a:t>
            </a:r>
            <a:r>
              <a:rPr kumimoji="0" lang="en-AU" sz="2400" b="0" i="0" u="none" strike="noStrike" kern="1200" cap="none" spc="0" normalizeH="0" baseline="0" noProof="0" dirty="0">
                <a:ln>
                  <a:noFill/>
                </a:ln>
                <a:solidFill>
                  <a:srgbClr val="29BA74"/>
                </a:solidFill>
                <a:effectLst/>
                <a:uLnTx/>
                <a:uFillTx/>
                <a:latin typeface="Trebuchet MS"/>
                <a:ea typeface="+mn-ea"/>
                <a:cs typeface="+mn-cs"/>
              </a:rPr>
              <a:t> </a:t>
            </a:r>
          </a:p>
        </p:txBody>
      </p:sp>
      <p:sp>
        <p:nvSpPr>
          <p:cNvPr id="44" name="ee4pHeader2"/>
          <p:cNvSpPr txBox="1"/>
          <p:nvPr/>
        </p:nvSpPr>
        <p:spPr>
          <a:xfrm>
            <a:off x="4574284" y="2762375"/>
            <a:ext cx="3125941" cy="759600"/>
          </a:xfrm>
          <a:prstGeom prst="rect">
            <a:avLst/>
          </a:prstGeom>
          <a:noFill/>
          <a:ln cap="rnd">
            <a:noFill/>
          </a:ln>
        </p:spPr>
        <p:txBody>
          <a:bodyPr wrap="square" lIns="0" tIns="0" rIns="0" bIns="0" rtlCol="0" anchor="b" anchorCtr="0">
            <a:noAutofit/>
          </a:bodyPr>
          <a:lstStyle/>
          <a:p>
            <a:pPr marL="0" marR="0" lvl="3" indent="0" algn="ctr" defTabSz="914400" rtl="0" eaLnBrk="1" fontAlgn="auto" latinLnBrk="0" hangingPunct="1">
              <a:lnSpc>
                <a:spcPct val="100000"/>
              </a:lnSpc>
              <a:spcBef>
                <a:spcPts val="0"/>
              </a:spcBef>
              <a:spcAft>
                <a:spcPts val="0"/>
              </a:spcAft>
              <a:buClrTx/>
              <a:buSzTx/>
              <a:buFontTx/>
              <a:buNone/>
              <a:tabLst/>
              <a:defRPr/>
            </a:pPr>
            <a:r>
              <a:rPr kumimoji="0" lang="en-AU" sz="2400" b="0" i="0" u="none" strike="noStrike" kern="1200" cap="none" spc="0" normalizeH="0" baseline="0" noProof="0" dirty="0">
                <a:ln>
                  <a:noFill/>
                </a:ln>
                <a:solidFill>
                  <a:srgbClr val="29BA74"/>
                </a:solidFill>
                <a:effectLst/>
                <a:uLnTx/>
                <a:uFillTx/>
                <a:latin typeface="Trebuchet MS"/>
                <a:ea typeface="+mn-ea"/>
                <a:cs typeface="+mn-cs"/>
              </a:rPr>
              <a:t>Who to Target</a:t>
            </a:r>
          </a:p>
        </p:txBody>
      </p:sp>
      <p:sp>
        <p:nvSpPr>
          <p:cNvPr id="41" name="ee4pContent2"/>
          <p:cNvSpPr txBox="1"/>
          <p:nvPr/>
        </p:nvSpPr>
        <p:spPr>
          <a:xfrm>
            <a:off x="836469" y="3694094"/>
            <a:ext cx="3125941" cy="975251"/>
          </a:xfrm>
          <a:prstGeom prst="rect">
            <a:avLst/>
          </a:prstGeom>
          <a:ln cap="rnd">
            <a:noFill/>
          </a:ln>
        </p:spPr>
        <p:txBody>
          <a:bodyPr vert="horz" wrap="square" lIns="0" tIns="0" rIns="0" bIns="0" rtlCol="0">
            <a:noAutofit/>
          </a:bodyPr>
          <a:lstStyle>
            <a:defPPr>
              <a:defRPr lang="en-US"/>
            </a:defPPr>
            <a:lvl1pPr lvl="0" indent="0">
              <a:lnSpc>
                <a:spcPct val="100000"/>
              </a:lnSpc>
              <a:spcBef>
                <a:spcPts val="0"/>
              </a:spcBef>
              <a:spcAft>
                <a:spcPts val="0"/>
              </a:spcAft>
              <a:buClr>
                <a:srgbClr val="000000"/>
              </a:buClr>
              <a:buSzPct val="100000"/>
              <a:buFont typeface="Trebuchet MS" panose="020B0603020202020204" pitchFamily="34" charset="0"/>
              <a:buNone/>
              <a:defRPr sz="2000">
                <a:solidFill>
                  <a:srgbClr val="575757"/>
                </a:solidFill>
                <a:latin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2400">
                <a:solidFill>
                  <a:schemeClr val="tx2"/>
                </a:solidFill>
                <a:latin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2400" b="1">
                <a:latin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2400">
                <a:latin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5400" baseline="0">
                <a:latin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6600">
                <a:solidFill>
                  <a:schemeClr val="tx2"/>
                </a:solidFill>
                <a:latin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4400">
                <a:solidFill>
                  <a:schemeClr val="tx2"/>
                </a:solidFill>
                <a:latin typeface="Trebuchet MS" panose="020B0603020202020204" pitchFamily="34" charset="0"/>
              </a:defRPr>
            </a:lvl9pPr>
          </a:lstStyle>
          <a:p>
            <a:pPr marL="0" marR="0" lvl="0" indent="0" algn="ctr" defTabSz="914400" rtl="0" eaLnBrk="1" fontAlgn="auto" latinLnBrk="0" hangingPunct="1">
              <a:lnSpc>
                <a:spcPct val="90000"/>
              </a:lnSpc>
              <a:spcBef>
                <a:spcPts val="0"/>
              </a:spcBef>
              <a:spcAft>
                <a:spcPts val="1200"/>
              </a:spcAft>
              <a:buClr>
                <a:srgbClr val="000000"/>
              </a:buClr>
              <a:buSzPct val="100000"/>
              <a:buFont typeface="Trebuchet MS" panose="020B0603020202020204" pitchFamily="34" charset="0"/>
              <a:buNone/>
              <a:tabLst/>
              <a:defRPr/>
            </a:pPr>
            <a:r>
              <a:rPr kumimoji="0" lang="en-AU" sz="2000" b="0" i="0" u="none" strike="noStrike" kern="1200" cap="none" spc="0" normalizeH="0" baseline="0" noProof="0" dirty="0">
                <a:ln>
                  <a:noFill/>
                </a:ln>
                <a:solidFill>
                  <a:srgbClr val="575757"/>
                </a:solidFill>
                <a:effectLst/>
                <a:uLnTx/>
                <a:uFillTx/>
                <a:latin typeface="Trebuchet MS" panose="020B0603020202020204" pitchFamily="34" charset="0"/>
                <a:ea typeface="+mn-ea"/>
                <a:cs typeface="+mn-cs"/>
              </a:rPr>
              <a:t>What are the most popular booking month for each subtrade?</a:t>
            </a:r>
          </a:p>
        </p:txBody>
      </p:sp>
      <p:sp>
        <p:nvSpPr>
          <p:cNvPr id="45" name="ee4pHeader3"/>
          <p:cNvSpPr txBox="1"/>
          <p:nvPr/>
        </p:nvSpPr>
        <p:spPr>
          <a:xfrm>
            <a:off x="8441463" y="2762375"/>
            <a:ext cx="3125941" cy="759600"/>
          </a:xfrm>
          <a:prstGeom prst="rect">
            <a:avLst/>
          </a:prstGeom>
          <a:noFill/>
          <a:ln cap="rnd">
            <a:noFill/>
          </a:ln>
        </p:spPr>
        <p:txBody>
          <a:bodyPr wrap="square" lIns="0" tIns="0" rIns="0" bIns="0" rtlCol="0" anchor="b" anchorCtr="0">
            <a:noAutofit/>
          </a:bodyPr>
          <a:lstStyle/>
          <a:p>
            <a:pPr marL="0" marR="0" lvl="3" indent="0" algn="ctr" defTabSz="914400" rtl="0" eaLnBrk="1" fontAlgn="auto" latinLnBrk="0" hangingPunct="1">
              <a:lnSpc>
                <a:spcPct val="100000"/>
              </a:lnSpc>
              <a:spcBef>
                <a:spcPts val="0"/>
              </a:spcBef>
              <a:spcAft>
                <a:spcPts val="0"/>
              </a:spcAft>
              <a:buClrTx/>
              <a:buSzTx/>
              <a:buFontTx/>
              <a:buNone/>
              <a:tabLst/>
              <a:defRPr/>
            </a:pPr>
            <a:r>
              <a:rPr kumimoji="0" lang="en-AU" sz="2400" b="0" i="0" u="none" strike="noStrike" kern="1200" cap="none" spc="0" normalizeH="0" baseline="0" noProof="0" dirty="0">
                <a:ln>
                  <a:noFill/>
                </a:ln>
                <a:solidFill>
                  <a:srgbClr val="29BA74"/>
                </a:solidFill>
                <a:effectLst/>
                <a:uLnTx/>
                <a:uFillTx/>
                <a:latin typeface="Trebuchet MS"/>
                <a:ea typeface="+mn-ea"/>
                <a:cs typeface="+mn-cs"/>
              </a:rPr>
              <a:t>What to target</a:t>
            </a:r>
          </a:p>
        </p:txBody>
      </p:sp>
      <p:sp>
        <p:nvSpPr>
          <p:cNvPr id="43" name="ee4pHeader1"/>
          <p:cNvSpPr txBox="1"/>
          <p:nvPr/>
        </p:nvSpPr>
        <p:spPr>
          <a:xfrm>
            <a:off x="674379" y="2772246"/>
            <a:ext cx="3123862" cy="759600"/>
          </a:xfrm>
          <a:prstGeom prst="rect">
            <a:avLst/>
          </a:prstGeom>
          <a:noFill/>
          <a:ln cap="rnd">
            <a:noFill/>
          </a:ln>
        </p:spPr>
        <p:txBody>
          <a:bodyPr wrap="square" lIns="0" tIns="0" rIns="0" bIns="0" rtlCol="0" anchor="b" anchorCtr="0">
            <a:noAutofit/>
          </a:bodyPr>
          <a:lstStyle/>
          <a:p>
            <a:pPr marL="0" marR="0" lvl="3" indent="0" algn="ctr" defTabSz="914400" rtl="0" eaLnBrk="1" fontAlgn="auto" latinLnBrk="0" hangingPunct="1">
              <a:lnSpc>
                <a:spcPct val="100000"/>
              </a:lnSpc>
              <a:spcBef>
                <a:spcPts val="0"/>
              </a:spcBef>
              <a:spcAft>
                <a:spcPts val="0"/>
              </a:spcAft>
              <a:buClrTx/>
              <a:buSzTx/>
              <a:buFontTx/>
              <a:buNone/>
              <a:tabLst/>
              <a:defRPr/>
            </a:pPr>
            <a:r>
              <a:rPr kumimoji="0" lang="en-AU" sz="2400" b="0" i="0" u="none" strike="noStrike" kern="1200" cap="none" spc="0" normalizeH="0" baseline="0" noProof="0" dirty="0">
                <a:ln>
                  <a:noFill/>
                </a:ln>
                <a:solidFill>
                  <a:srgbClr val="29BA74"/>
                </a:solidFill>
                <a:effectLst/>
                <a:uLnTx/>
                <a:uFillTx/>
                <a:latin typeface="Trebuchet MS"/>
                <a:ea typeface="+mn-ea"/>
                <a:cs typeface="+mn-cs"/>
              </a:rPr>
              <a:t>When to target</a:t>
            </a:r>
          </a:p>
        </p:txBody>
      </p:sp>
      <p:cxnSp>
        <p:nvCxnSpPr>
          <p:cNvPr id="76" name="Straight Connector 75"/>
          <p:cNvCxnSpPr>
            <a:cxnSpLocks/>
          </p:cNvCxnSpPr>
          <p:nvPr/>
        </p:nvCxnSpPr>
        <p:spPr>
          <a:xfrm flipV="1">
            <a:off x="836469" y="4869700"/>
            <a:ext cx="10492398" cy="18250"/>
          </a:xfrm>
          <a:prstGeom prst="line">
            <a:avLst/>
          </a:prstGeom>
          <a:ln w="9525" cap="rnd">
            <a:solidFill>
              <a:schemeClr val="tx1">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sp>
        <p:nvSpPr>
          <p:cNvPr id="5" name="ee4pContent2">
            <a:extLst>
              <a:ext uri="{FF2B5EF4-FFF2-40B4-BE49-F238E27FC236}">
                <a16:creationId xmlns:a16="http://schemas.microsoft.com/office/drawing/2014/main" id="{568301FD-FCE7-4388-B012-9F2B235DE97D}"/>
              </a:ext>
            </a:extLst>
          </p:cNvPr>
          <p:cNvSpPr txBox="1"/>
          <p:nvPr/>
        </p:nvSpPr>
        <p:spPr>
          <a:xfrm>
            <a:off x="1046497" y="1704246"/>
            <a:ext cx="10578505" cy="1709533"/>
          </a:xfrm>
          <a:prstGeom prst="rect">
            <a:avLst/>
          </a:prstGeom>
          <a:ln cap="rnd">
            <a:noFill/>
          </a:ln>
        </p:spPr>
        <p:txBody>
          <a:bodyPr vert="horz" wrap="square" lIns="0" tIns="0" rIns="0" bIns="0" rtlCol="0">
            <a:noAutofit/>
          </a:bodyPr>
          <a:lstStyle>
            <a:defPPr>
              <a:defRPr lang="en-US"/>
            </a:defPPr>
            <a:lvl1pPr lvl="0" indent="0">
              <a:lnSpc>
                <a:spcPct val="100000"/>
              </a:lnSpc>
              <a:spcBef>
                <a:spcPts val="0"/>
              </a:spcBef>
              <a:spcAft>
                <a:spcPts val="0"/>
              </a:spcAft>
              <a:buClr>
                <a:srgbClr val="000000"/>
              </a:buClr>
              <a:buSzPct val="100000"/>
              <a:buFont typeface="Trebuchet MS" panose="020B0603020202020204" pitchFamily="34" charset="0"/>
              <a:buNone/>
              <a:defRPr sz="2000">
                <a:solidFill>
                  <a:srgbClr val="575757"/>
                </a:solidFill>
                <a:latin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2400">
                <a:solidFill>
                  <a:schemeClr val="tx2"/>
                </a:solidFill>
                <a:latin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2400" b="1">
                <a:latin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2400">
                <a:latin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5400" baseline="0">
                <a:latin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6600">
                <a:solidFill>
                  <a:schemeClr val="tx2"/>
                </a:solidFill>
                <a:latin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4400">
                <a:solidFill>
                  <a:schemeClr val="tx2"/>
                </a:solidFill>
                <a:latin typeface="Trebuchet MS" panose="020B0603020202020204" pitchFamily="34" charset="0"/>
              </a:defRPr>
            </a:lvl9pPr>
          </a:lstStyle>
          <a:p>
            <a:pPr marL="0" marR="0" lvl="0" indent="0" algn="ctr" defTabSz="914400" rtl="0" eaLnBrk="1" fontAlgn="auto" latinLnBrk="0" hangingPunct="1">
              <a:lnSpc>
                <a:spcPct val="90000"/>
              </a:lnSpc>
              <a:spcBef>
                <a:spcPts val="0"/>
              </a:spcBef>
              <a:spcAft>
                <a:spcPts val="1200"/>
              </a:spcAft>
              <a:buClr>
                <a:srgbClr val="000000"/>
              </a:buClr>
              <a:buSzPct val="100000"/>
              <a:buFont typeface="Trebuchet MS" panose="020B0603020202020204" pitchFamily="34" charset="0"/>
              <a:buNone/>
              <a:tabLst/>
              <a:defRPr/>
            </a:pPr>
            <a:r>
              <a:rPr kumimoji="0" lang="en-AU" sz="2000" b="0" i="0" u="none" strike="noStrike" kern="1200" cap="none" spc="0" normalizeH="0" baseline="0" noProof="0" dirty="0">
                <a:ln>
                  <a:noFill/>
                </a:ln>
                <a:solidFill>
                  <a:srgbClr val="575757"/>
                </a:solidFill>
                <a:effectLst/>
                <a:uLnTx/>
                <a:uFillTx/>
                <a:latin typeface="Trebuchet MS" panose="020B0603020202020204" pitchFamily="34" charset="0"/>
                <a:ea typeface="+mn-ea"/>
                <a:cs typeface="+mn-cs"/>
              </a:rPr>
              <a:t>Given a cruise line (subtrade) to be marketed, what kind of guests should HAL contact at what time with what content?</a:t>
            </a:r>
          </a:p>
        </p:txBody>
      </p:sp>
      <p:grpSp>
        <p:nvGrpSpPr>
          <p:cNvPr id="10" name="bcgIcons_LargeGroupMeeting">
            <a:extLst>
              <a:ext uri="{FF2B5EF4-FFF2-40B4-BE49-F238E27FC236}">
                <a16:creationId xmlns:a16="http://schemas.microsoft.com/office/drawing/2014/main" id="{15CB4E6B-6846-F342-9F33-E4B3AF6B1BB5}"/>
              </a:ext>
            </a:extLst>
          </p:cNvPr>
          <p:cNvGrpSpPr>
            <a:grpSpLocks/>
          </p:cNvGrpSpPr>
          <p:nvPr/>
        </p:nvGrpSpPr>
        <p:grpSpPr bwMode="auto">
          <a:xfrm>
            <a:off x="5680330" y="2189904"/>
            <a:ext cx="877924" cy="1036402"/>
            <a:chOff x="1682" y="0"/>
            <a:chExt cx="4316" cy="4320"/>
          </a:xfrm>
        </p:grpSpPr>
        <p:sp>
          <p:nvSpPr>
            <p:cNvPr id="11" name="AutoShape 33">
              <a:extLst>
                <a:ext uri="{FF2B5EF4-FFF2-40B4-BE49-F238E27FC236}">
                  <a16:creationId xmlns:a16="http://schemas.microsoft.com/office/drawing/2014/main" id="{44096BA6-2BD9-9185-CBE8-9E5542ECA72F}"/>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75757"/>
                </a:solidFill>
                <a:effectLst/>
                <a:uLnTx/>
                <a:uFillTx/>
                <a:latin typeface="Trebuchet MS"/>
                <a:ea typeface="+mn-ea"/>
                <a:cs typeface="+mn-cs"/>
              </a:endParaRPr>
            </a:p>
          </p:txBody>
        </p:sp>
        <p:sp>
          <p:nvSpPr>
            <p:cNvPr id="12" name="Freeform 35">
              <a:extLst>
                <a:ext uri="{FF2B5EF4-FFF2-40B4-BE49-F238E27FC236}">
                  <a16:creationId xmlns:a16="http://schemas.microsoft.com/office/drawing/2014/main" id="{0FF88AFD-4BEA-1361-F083-1D82E136AA28}"/>
                </a:ext>
              </a:extLst>
            </p:cNvPr>
            <p:cNvSpPr>
              <a:spLocks noEditPoints="1"/>
            </p:cNvSpPr>
            <p:nvPr/>
          </p:nvSpPr>
          <p:spPr bwMode="auto">
            <a:xfrm>
              <a:off x="1929" y="2160"/>
              <a:ext cx="3833" cy="735"/>
            </a:xfrm>
            <a:custGeom>
              <a:avLst/>
              <a:gdLst>
                <a:gd name="T0" fmla="*/ 353 w 2046"/>
                <a:gd name="T1" fmla="*/ 382 h 392"/>
                <a:gd name="T2" fmla="*/ 561 w 2046"/>
                <a:gd name="T3" fmla="*/ 165 h 392"/>
                <a:gd name="T4" fmla="*/ 663 w 2046"/>
                <a:gd name="T5" fmla="*/ 197 h 392"/>
                <a:gd name="T6" fmla="*/ 762 w 2046"/>
                <a:gd name="T7" fmla="*/ 165 h 392"/>
                <a:gd name="T8" fmla="*/ 895 w 2046"/>
                <a:gd name="T9" fmla="*/ 188 h 392"/>
                <a:gd name="T10" fmla="*/ 963 w 2046"/>
                <a:gd name="T11" fmla="*/ 392 h 392"/>
                <a:gd name="T12" fmla="*/ 1679 w 2046"/>
                <a:gd name="T13" fmla="*/ 392 h 392"/>
                <a:gd name="T14" fmla="*/ 1612 w 2046"/>
                <a:gd name="T15" fmla="*/ 188 h 392"/>
                <a:gd name="T16" fmla="*/ 1479 w 2046"/>
                <a:gd name="T17" fmla="*/ 165 h 392"/>
                <a:gd name="T18" fmla="*/ 1380 w 2046"/>
                <a:gd name="T19" fmla="*/ 197 h 392"/>
                <a:gd name="T20" fmla="*/ 1278 w 2046"/>
                <a:gd name="T21" fmla="*/ 165 h 392"/>
                <a:gd name="T22" fmla="*/ 1070 w 2046"/>
                <a:gd name="T23" fmla="*/ 382 h 392"/>
                <a:gd name="T24" fmla="*/ 1679 w 2046"/>
                <a:gd name="T25" fmla="*/ 392 h 392"/>
                <a:gd name="T26" fmla="*/ 1262 w 2046"/>
                <a:gd name="T27" fmla="*/ 122 h 392"/>
                <a:gd name="T28" fmla="*/ 1238 w 2046"/>
                <a:gd name="T29" fmla="*/ 84 h 392"/>
                <a:gd name="T30" fmla="*/ 1187 w 2046"/>
                <a:gd name="T31" fmla="*/ 5 h 392"/>
                <a:gd name="T32" fmla="*/ 1120 w 2046"/>
                <a:gd name="T33" fmla="*/ 3 h 392"/>
                <a:gd name="T34" fmla="*/ 1126 w 2046"/>
                <a:gd name="T35" fmla="*/ 148 h 392"/>
                <a:gd name="T36" fmla="*/ 546 w 2046"/>
                <a:gd name="T37" fmla="*/ 122 h 392"/>
                <a:gd name="T38" fmla="*/ 522 w 2046"/>
                <a:gd name="T39" fmla="*/ 84 h 392"/>
                <a:gd name="T40" fmla="*/ 471 w 2046"/>
                <a:gd name="T41" fmla="*/ 5 h 392"/>
                <a:gd name="T42" fmla="*/ 304 w 2046"/>
                <a:gd name="T43" fmla="*/ 48 h 392"/>
                <a:gd name="T44" fmla="*/ 70 w 2046"/>
                <a:gd name="T45" fmla="*/ 23 h 392"/>
                <a:gd name="T46" fmla="*/ 363 w 2046"/>
                <a:gd name="T47" fmla="*/ 201 h 392"/>
                <a:gd name="T48" fmla="*/ 804 w 2046"/>
                <a:gd name="T49" fmla="*/ 78 h 392"/>
                <a:gd name="T50" fmla="*/ 793 w 2046"/>
                <a:gd name="T51" fmla="*/ 103 h 392"/>
                <a:gd name="T52" fmla="*/ 778 w 2046"/>
                <a:gd name="T53" fmla="*/ 122 h 392"/>
                <a:gd name="T54" fmla="*/ 945 w 2046"/>
                <a:gd name="T55" fmla="*/ 175 h 392"/>
                <a:gd name="T56" fmla="*/ 917 w 2046"/>
                <a:gd name="T57" fmla="*/ 0 h 392"/>
                <a:gd name="T58" fmla="*/ 804 w 2046"/>
                <a:gd name="T59" fmla="*/ 78 h 392"/>
                <a:gd name="T60" fmla="*/ 1970 w 2046"/>
                <a:gd name="T61" fmla="*/ 23 h 392"/>
                <a:gd name="T62" fmla="*/ 1836 w 2046"/>
                <a:gd name="T63" fmla="*/ 3 h 392"/>
                <a:gd name="T64" fmla="*/ 1728 w 2046"/>
                <a:gd name="T65" fmla="*/ 105 h 392"/>
                <a:gd name="T66" fmla="*/ 1633 w 2046"/>
                <a:gd name="T67" fmla="*/ 0 h 392"/>
                <a:gd name="T68" fmla="*/ 1520 w 2046"/>
                <a:gd name="T69" fmla="*/ 78 h 392"/>
                <a:gd name="T70" fmla="*/ 1509 w 2046"/>
                <a:gd name="T71" fmla="*/ 103 h 392"/>
                <a:gd name="T72" fmla="*/ 1494 w 2046"/>
                <a:gd name="T73" fmla="*/ 122 h 392"/>
                <a:gd name="T74" fmla="*/ 1686 w 2046"/>
                <a:gd name="T75" fmla="*/ 222 h 392"/>
                <a:gd name="T76" fmla="*/ 1784 w 2046"/>
                <a:gd name="T77" fmla="*/ 222 h 392"/>
                <a:gd name="T78" fmla="*/ 2045 w 2046"/>
                <a:gd name="T79" fmla="*/ 212 h 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046" h="392">
                  <a:moveTo>
                    <a:pt x="361" y="392"/>
                  </a:moveTo>
                  <a:cubicBezTo>
                    <a:pt x="355" y="392"/>
                    <a:pt x="352" y="387"/>
                    <a:pt x="353" y="382"/>
                  </a:cubicBezTo>
                  <a:cubicBezTo>
                    <a:pt x="363" y="357"/>
                    <a:pt x="390" y="205"/>
                    <a:pt x="428" y="188"/>
                  </a:cubicBezTo>
                  <a:cubicBezTo>
                    <a:pt x="475" y="166"/>
                    <a:pt x="561" y="165"/>
                    <a:pt x="561" y="165"/>
                  </a:cubicBezTo>
                  <a:cubicBezTo>
                    <a:pt x="561" y="165"/>
                    <a:pt x="561" y="165"/>
                    <a:pt x="561" y="165"/>
                  </a:cubicBezTo>
                  <a:cubicBezTo>
                    <a:pt x="561" y="165"/>
                    <a:pt x="596" y="197"/>
                    <a:pt x="663" y="197"/>
                  </a:cubicBezTo>
                  <a:cubicBezTo>
                    <a:pt x="660" y="197"/>
                    <a:pt x="660" y="197"/>
                    <a:pt x="660" y="197"/>
                  </a:cubicBezTo>
                  <a:cubicBezTo>
                    <a:pt x="728" y="197"/>
                    <a:pt x="762" y="165"/>
                    <a:pt x="762" y="165"/>
                  </a:cubicBezTo>
                  <a:cubicBezTo>
                    <a:pt x="762" y="165"/>
                    <a:pt x="762" y="165"/>
                    <a:pt x="762" y="165"/>
                  </a:cubicBezTo>
                  <a:cubicBezTo>
                    <a:pt x="762" y="165"/>
                    <a:pt x="849" y="166"/>
                    <a:pt x="895" y="188"/>
                  </a:cubicBezTo>
                  <a:cubicBezTo>
                    <a:pt x="933" y="205"/>
                    <a:pt x="961" y="357"/>
                    <a:pt x="970" y="382"/>
                  </a:cubicBezTo>
                  <a:cubicBezTo>
                    <a:pt x="972" y="387"/>
                    <a:pt x="968" y="392"/>
                    <a:pt x="963" y="392"/>
                  </a:cubicBezTo>
                  <a:lnTo>
                    <a:pt x="361" y="392"/>
                  </a:lnTo>
                  <a:close/>
                  <a:moveTo>
                    <a:pt x="1679" y="392"/>
                  </a:moveTo>
                  <a:cubicBezTo>
                    <a:pt x="1685" y="392"/>
                    <a:pt x="1688" y="387"/>
                    <a:pt x="1687" y="382"/>
                  </a:cubicBezTo>
                  <a:cubicBezTo>
                    <a:pt x="1677" y="357"/>
                    <a:pt x="1650" y="205"/>
                    <a:pt x="1612" y="188"/>
                  </a:cubicBezTo>
                  <a:cubicBezTo>
                    <a:pt x="1565" y="166"/>
                    <a:pt x="1479" y="165"/>
                    <a:pt x="1479" y="165"/>
                  </a:cubicBezTo>
                  <a:cubicBezTo>
                    <a:pt x="1479" y="165"/>
                    <a:pt x="1479" y="165"/>
                    <a:pt x="1479" y="165"/>
                  </a:cubicBezTo>
                  <a:cubicBezTo>
                    <a:pt x="1479" y="165"/>
                    <a:pt x="1444" y="197"/>
                    <a:pt x="1377" y="197"/>
                  </a:cubicBezTo>
                  <a:cubicBezTo>
                    <a:pt x="1380" y="197"/>
                    <a:pt x="1380" y="197"/>
                    <a:pt x="1380" y="197"/>
                  </a:cubicBezTo>
                  <a:cubicBezTo>
                    <a:pt x="1312" y="197"/>
                    <a:pt x="1278" y="165"/>
                    <a:pt x="1278" y="165"/>
                  </a:cubicBezTo>
                  <a:cubicBezTo>
                    <a:pt x="1278" y="165"/>
                    <a:pt x="1278" y="165"/>
                    <a:pt x="1278" y="165"/>
                  </a:cubicBezTo>
                  <a:cubicBezTo>
                    <a:pt x="1278" y="165"/>
                    <a:pt x="1191" y="166"/>
                    <a:pt x="1145" y="188"/>
                  </a:cubicBezTo>
                  <a:cubicBezTo>
                    <a:pt x="1107" y="205"/>
                    <a:pt x="1079" y="357"/>
                    <a:pt x="1070" y="382"/>
                  </a:cubicBezTo>
                  <a:cubicBezTo>
                    <a:pt x="1068" y="387"/>
                    <a:pt x="1072" y="392"/>
                    <a:pt x="1077" y="392"/>
                  </a:cubicBezTo>
                  <a:lnTo>
                    <a:pt x="1679" y="392"/>
                  </a:lnTo>
                  <a:close/>
                  <a:moveTo>
                    <a:pt x="1126" y="148"/>
                  </a:moveTo>
                  <a:cubicBezTo>
                    <a:pt x="1169" y="128"/>
                    <a:pt x="1233" y="123"/>
                    <a:pt x="1262" y="122"/>
                  </a:cubicBezTo>
                  <a:cubicBezTo>
                    <a:pt x="1257" y="117"/>
                    <a:pt x="1253" y="112"/>
                    <a:pt x="1250" y="108"/>
                  </a:cubicBezTo>
                  <a:cubicBezTo>
                    <a:pt x="1244" y="99"/>
                    <a:pt x="1241" y="94"/>
                    <a:pt x="1238" y="84"/>
                  </a:cubicBezTo>
                  <a:cubicBezTo>
                    <a:pt x="1237" y="82"/>
                    <a:pt x="1237" y="80"/>
                    <a:pt x="1235" y="76"/>
                  </a:cubicBezTo>
                  <a:cubicBezTo>
                    <a:pt x="1219" y="59"/>
                    <a:pt x="1199" y="30"/>
                    <a:pt x="1187" y="5"/>
                  </a:cubicBezTo>
                  <a:cubicBezTo>
                    <a:pt x="1158" y="1"/>
                    <a:pt x="1132" y="0"/>
                    <a:pt x="1123" y="0"/>
                  </a:cubicBezTo>
                  <a:cubicBezTo>
                    <a:pt x="1122" y="0"/>
                    <a:pt x="1120" y="1"/>
                    <a:pt x="1120" y="3"/>
                  </a:cubicBezTo>
                  <a:cubicBezTo>
                    <a:pt x="1095" y="175"/>
                    <a:pt x="1095" y="175"/>
                    <a:pt x="1095" y="175"/>
                  </a:cubicBezTo>
                  <a:cubicBezTo>
                    <a:pt x="1104" y="162"/>
                    <a:pt x="1114" y="153"/>
                    <a:pt x="1126" y="148"/>
                  </a:cubicBezTo>
                  <a:close/>
                  <a:moveTo>
                    <a:pt x="410" y="148"/>
                  </a:moveTo>
                  <a:cubicBezTo>
                    <a:pt x="453" y="128"/>
                    <a:pt x="517" y="123"/>
                    <a:pt x="546" y="122"/>
                  </a:cubicBezTo>
                  <a:cubicBezTo>
                    <a:pt x="541" y="117"/>
                    <a:pt x="537" y="112"/>
                    <a:pt x="534" y="108"/>
                  </a:cubicBezTo>
                  <a:cubicBezTo>
                    <a:pt x="527" y="99"/>
                    <a:pt x="525" y="94"/>
                    <a:pt x="522" y="84"/>
                  </a:cubicBezTo>
                  <a:cubicBezTo>
                    <a:pt x="521" y="82"/>
                    <a:pt x="520" y="80"/>
                    <a:pt x="519" y="76"/>
                  </a:cubicBezTo>
                  <a:cubicBezTo>
                    <a:pt x="503" y="59"/>
                    <a:pt x="482" y="30"/>
                    <a:pt x="471" y="5"/>
                  </a:cubicBezTo>
                  <a:cubicBezTo>
                    <a:pt x="436" y="0"/>
                    <a:pt x="404" y="0"/>
                    <a:pt x="404" y="0"/>
                  </a:cubicBezTo>
                  <a:cubicBezTo>
                    <a:pt x="404" y="0"/>
                    <a:pt x="370" y="47"/>
                    <a:pt x="304" y="48"/>
                  </a:cubicBezTo>
                  <a:cubicBezTo>
                    <a:pt x="237" y="47"/>
                    <a:pt x="203" y="0"/>
                    <a:pt x="203" y="0"/>
                  </a:cubicBezTo>
                  <a:cubicBezTo>
                    <a:pt x="203" y="0"/>
                    <a:pt x="117" y="1"/>
                    <a:pt x="70" y="23"/>
                  </a:cubicBezTo>
                  <a:cubicBezTo>
                    <a:pt x="37" y="38"/>
                    <a:pt x="12" y="154"/>
                    <a:pt x="0" y="201"/>
                  </a:cubicBezTo>
                  <a:cubicBezTo>
                    <a:pt x="363" y="201"/>
                    <a:pt x="363" y="201"/>
                    <a:pt x="363" y="201"/>
                  </a:cubicBezTo>
                  <a:cubicBezTo>
                    <a:pt x="376" y="174"/>
                    <a:pt x="391" y="157"/>
                    <a:pt x="410" y="148"/>
                  </a:cubicBezTo>
                  <a:close/>
                  <a:moveTo>
                    <a:pt x="804" y="78"/>
                  </a:moveTo>
                  <a:cubicBezTo>
                    <a:pt x="803" y="81"/>
                    <a:pt x="802" y="83"/>
                    <a:pt x="802" y="84"/>
                  </a:cubicBezTo>
                  <a:cubicBezTo>
                    <a:pt x="799" y="92"/>
                    <a:pt x="798" y="95"/>
                    <a:pt x="793" y="103"/>
                  </a:cubicBezTo>
                  <a:cubicBezTo>
                    <a:pt x="792" y="105"/>
                    <a:pt x="792" y="105"/>
                    <a:pt x="792" y="105"/>
                  </a:cubicBezTo>
                  <a:cubicBezTo>
                    <a:pt x="789" y="110"/>
                    <a:pt x="784" y="116"/>
                    <a:pt x="778" y="122"/>
                  </a:cubicBezTo>
                  <a:cubicBezTo>
                    <a:pt x="807" y="123"/>
                    <a:pt x="871" y="128"/>
                    <a:pt x="914" y="148"/>
                  </a:cubicBezTo>
                  <a:cubicBezTo>
                    <a:pt x="926" y="153"/>
                    <a:pt x="936" y="162"/>
                    <a:pt x="945" y="175"/>
                  </a:cubicBezTo>
                  <a:cubicBezTo>
                    <a:pt x="920" y="3"/>
                    <a:pt x="920" y="3"/>
                    <a:pt x="920" y="3"/>
                  </a:cubicBezTo>
                  <a:cubicBezTo>
                    <a:pt x="920" y="1"/>
                    <a:pt x="918" y="0"/>
                    <a:pt x="917" y="0"/>
                  </a:cubicBezTo>
                  <a:cubicBezTo>
                    <a:pt x="908" y="0"/>
                    <a:pt x="882" y="1"/>
                    <a:pt x="853" y="5"/>
                  </a:cubicBezTo>
                  <a:cubicBezTo>
                    <a:pt x="842" y="28"/>
                    <a:pt x="823" y="59"/>
                    <a:pt x="804" y="78"/>
                  </a:cubicBezTo>
                  <a:close/>
                  <a:moveTo>
                    <a:pt x="2045" y="212"/>
                  </a:moveTo>
                  <a:cubicBezTo>
                    <a:pt x="2035" y="186"/>
                    <a:pt x="2008" y="40"/>
                    <a:pt x="1970" y="23"/>
                  </a:cubicBezTo>
                  <a:cubicBezTo>
                    <a:pt x="1928" y="3"/>
                    <a:pt x="1855" y="0"/>
                    <a:pt x="1839" y="0"/>
                  </a:cubicBezTo>
                  <a:cubicBezTo>
                    <a:pt x="1838" y="0"/>
                    <a:pt x="1836" y="1"/>
                    <a:pt x="1836" y="3"/>
                  </a:cubicBezTo>
                  <a:cubicBezTo>
                    <a:pt x="1744" y="105"/>
                    <a:pt x="1744" y="105"/>
                    <a:pt x="1744" y="105"/>
                  </a:cubicBezTo>
                  <a:cubicBezTo>
                    <a:pt x="1740" y="111"/>
                    <a:pt x="1732" y="111"/>
                    <a:pt x="1728" y="105"/>
                  </a:cubicBezTo>
                  <a:cubicBezTo>
                    <a:pt x="1636" y="3"/>
                    <a:pt x="1636" y="3"/>
                    <a:pt x="1636" y="3"/>
                  </a:cubicBezTo>
                  <a:cubicBezTo>
                    <a:pt x="1636" y="1"/>
                    <a:pt x="1635" y="0"/>
                    <a:pt x="1633" y="0"/>
                  </a:cubicBezTo>
                  <a:cubicBezTo>
                    <a:pt x="1625" y="0"/>
                    <a:pt x="1598" y="1"/>
                    <a:pt x="1569" y="5"/>
                  </a:cubicBezTo>
                  <a:cubicBezTo>
                    <a:pt x="1559" y="28"/>
                    <a:pt x="1539" y="59"/>
                    <a:pt x="1520" y="78"/>
                  </a:cubicBezTo>
                  <a:cubicBezTo>
                    <a:pt x="1519" y="81"/>
                    <a:pt x="1519" y="83"/>
                    <a:pt x="1518" y="84"/>
                  </a:cubicBezTo>
                  <a:cubicBezTo>
                    <a:pt x="1515" y="92"/>
                    <a:pt x="1514" y="95"/>
                    <a:pt x="1509" y="103"/>
                  </a:cubicBezTo>
                  <a:cubicBezTo>
                    <a:pt x="1508" y="105"/>
                    <a:pt x="1508" y="105"/>
                    <a:pt x="1508" y="105"/>
                  </a:cubicBezTo>
                  <a:cubicBezTo>
                    <a:pt x="1505" y="110"/>
                    <a:pt x="1500" y="116"/>
                    <a:pt x="1494" y="122"/>
                  </a:cubicBezTo>
                  <a:cubicBezTo>
                    <a:pt x="1524" y="123"/>
                    <a:pt x="1588" y="128"/>
                    <a:pt x="1630" y="148"/>
                  </a:cubicBezTo>
                  <a:cubicBezTo>
                    <a:pt x="1653" y="159"/>
                    <a:pt x="1670" y="183"/>
                    <a:pt x="1686" y="222"/>
                  </a:cubicBezTo>
                  <a:cubicBezTo>
                    <a:pt x="1688" y="222"/>
                    <a:pt x="1688" y="222"/>
                    <a:pt x="1688" y="222"/>
                  </a:cubicBezTo>
                  <a:cubicBezTo>
                    <a:pt x="1784" y="222"/>
                    <a:pt x="1784" y="222"/>
                    <a:pt x="1784" y="222"/>
                  </a:cubicBezTo>
                  <a:cubicBezTo>
                    <a:pt x="2038" y="222"/>
                    <a:pt x="2038" y="222"/>
                    <a:pt x="2038" y="222"/>
                  </a:cubicBezTo>
                  <a:cubicBezTo>
                    <a:pt x="2043" y="222"/>
                    <a:pt x="2046" y="217"/>
                    <a:pt x="2045" y="212"/>
                  </a:cubicBezTo>
                  <a:close/>
                </a:path>
              </a:pathLst>
            </a:custGeom>
            <a:solidFill>
              <a:srgbClr val="03522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75757"/>
                </a:solidFill>
                <a:effectLst/>
                <a:uLnTx/>
                <a:uFillTx/>
                <a:latin typeface="Trebuchet MS"/>
                <a:ea typeface="+mn-ea"/>
                <a:cs typeface="+mn-cs"/>
              </a:endParaRPr>
            </a:p>
          </p:txBody>
        </p:sp>
        <p:sp>
          <p:nvSpPr>
            <p:cNvPr id="13" name="Freeform 36">
              <a:extLst>
                <a:ext uri="{FF2B5EF4-FFF2-40B4-BE49-F238E27FC236}">
                  <a16:creationId xmlns:a16="http://schemas.microsoft.com/office/drawing/2014/main" id="{449B24BE-50ED-F1CC-A959-6729182CF289}"/>
                </a:ext>
              </a:extLst>
            </p:cNvPr>
            <p:cNvSpPr>
              <a:spLocks noEditPoints="1"/>
            </p:cNvSpPr>
            <p:nvPr/>
          </p:nvSpPr>
          <p:spPr bwMode="auto">
            <a:xfrm>
              <a:off x="1836" y="1279"/>
              <a:ext cx="4025" cy="1427"/>
            </a:xfrm>
            <a:custGeom>
              <a:avLst/>
              <a:gdLst>
                <a:gd name="T0" fmla="*/ 1233 w 2149"/>
                <a:gd name="T1" fmla="*/ 232 h 761"/>
                <a:gd name="T2" fmla="*/ 1201 w 2149"/>
                <a:gd name="T3" fmla="*/ 259 h 761"/>
                <a:gd name="T4" fmla="*/ 977 w 2149"/>
                <a:gd name="T5" fmla="*/ 139 h 761"/>
                <a:gd name="T6" fmla="*/ 925 w 2149"/>
                <a:gd name="T7" fmla="*/ 255 h 761"/>
                <a:gd name="T8" fmla="*/ 908 w 2149"/>
                <a:gd name="T9" fmla="*/ 234 h 761"/>
                <a:gd name="T10" fmla="*/ 1070 w 2149"/>
                <a:gd name="T11" fmla="*/ 0 h 761"/>
                <a:gd name="T12" fmla="*/ 1233 w 2149"/>
                <a:gd name="T13" fmla="*/ 232 h 761"/>
                <a:gd name="T14" fmla="*/ 354 w 2149"/>
                <a:gd name="T15" fmla="*/ 0 h 761"/>
                <a:gd name="T16" fmla="*/ 192 w 2149"/>
                <a:gd name="T17" fmla="*/ 234 h 761"/>
                <a:gd name="T18" fmla="*/ 208 w 2149"/>
                <a:gd name="T19" fmla="*/ 255 h 761"/>
                <a:gd name="T20" fmla="*/ 261 w 2149"/>
                <a:gd name="T21" fmla="*/ 139 h 761"/>
                <a:gd name="T22" fmla="*/ 485 w 2149"/>
                <a:gd name="T23" fmla="*/ 259 h 761"/>
                <a:gd name="T24" fmla="*/ 516 w 2149"/>
                <a:gd name="T25" fmla="*/ 232 h 761"/>
                <a:gd name="T26" fmla="*/ 523 w 2149"/>
                <a:gd name="T27" fmla="*/ 173 h 761"/>
                <a:gd name="T28" fmla="*/ 712 w 2149"/>
                <a:gd name="T29" fmla="*/ 218 h 761"/>
                <a:gd name="T30" fmla="*/ 554 w 2149"/>
                <a:gd name="T31" fmla="*/ 440 h 761"/>
                <a:gd name="T32" fmla="*/ 607 w 2149"/>
                <a:gd name="T33" fmla="*/ 522 h 761"/>
                <a:gd name="T34" fmla="*/ 712 w 2149"/>
                <a:gd name="T35" fmla="*/ 597 h 761"/>
                <a:gd name="T36" fmla="*/ 817 w 2149"/>
                <a:gd name="T37" fmla="*/ 522 h 761"/>
                <a:gd name="T38" fmla="*/ 868 w 2149"/>
                <a:gd name="T39" fmla="*/ 445 h 761"/>
                <a:gd name="T40" fmla="*/ 1056 w 2149"/>
                <a:gd name="T41" fmla="*/ 535 h 761"/>
                <a:gd name="T42" fmla="*/ 1033 w 2149"/>
                <a:gd name="T43" fmla="*/ 671 h 761"/>
                <a:gd name="T44" fmla="*/ 1084 w 2149"/>
                <a:gd name="T45" fmla="*/ 538 h 761"/>
                <a:gd name="T46" fmla="*/ 1106 w 2149"/>
                <a:gd name="T47" fmla="*/ 500 h 761"/>
                <a:gd name="T48" fmla="*/ 1071 w 2149"/>
                <a:gd name="T49" fmla="*/ 491 h 761"/>
                <a:gd name="T50" fmla="*/ 1034 w 2149"/>
                <a:gd name="T51" fmla="*/ 500 h 761"/>
                <a:gd name="T52" fmla="*/ 1597 w 2149"/>
                <a:gd name="T53" fmla="*/ 391 h 761"/>
                <a:gd name="T54" fmla="*/ 1259 w 2149"/>
                <a:gd name="T55" fmla="*/ 391 h 761"/>
                <a:gd name="T56" fmla="*/ 1271 w 2149"/>
                <a:gd name="T57" fmla="*/ 442 h 761"/>
                <a:gd name="T58" fmla="*/ 1336 w 2149"/>
                <a:gd name="T59" fmla="*/ 553 h 761"/>
                <a:gd name="T60" fmla="*/ 1520 w 2149"/>
                <a:gd name="T61" fmla="*/ 553 h 761"/>
                <a:gd name="T62" fmla="*/ 1584 w 2149"/>
                <a:gd name="T63" fmla="*/ 446 h 761"/>
                <a:gd name="T64" fmla="*/ 1597 w 2149"/>
                <a:gd name="T65" fmla="*/ 391 h 761"/>
                <a:gd name="T66" fmla="*/ 1786 w 2149"/>
                <a:gd name="T67" fmla="*/ 0 h 761"/>
                <a:gd name="T68" fmla="*/ 1624 w 2149"/>
                <a:gd name="T69" fmla="*/ 246 h 761"/>
                <a:gd name="T70" fmla="*/ 1691 w 2149"/>
                <a:gd name="T71" fmla="*/ 140 h 761"/>
                <a:gd name="T72" fmla="*/ 1919 w 2149"/>
                <a:gd name="T73" fmla="*/ 260 h 761"/>
                <a:gd name="T74" fmla="*/ 1931 w 2149"/>
                <a:gd name="T75" fmla="*/ 261 h 761"/>
                <a:gd name="T76" fmla="*/ 1952 w 2149"/>
                <a:gd name="T77" fmla="*/ 233 h 761"/>
                <a:gd name="T78" fmla="*/ 1958 w 2149"/>
                <a:gd name="T79" fmla="*/ 175 h 761"/>
                <a:gd name="T80" fmla="*/ 22 w 2149"/>
                <a:gd name="T81" fmla="*/ 717 h 761"/>
                <a:gd name="T82" fmla="*/ 22 w 2149"/>
                <a:gd name="T83" fmla="*/ 761 h 761"/>
                <a:gd name="T84" fmla="*/ 395 w 2149"/>
                <a:gd name="T85" fmla="*/ 717 h 761"/>
                <a:gd name="T86" fmla="*/ 1745 w 2149"/>
                <a:gd name="T87" fmla="*/ 717 h 761"/>
                <a:gd name="T88" fmla="*/ 2127 w 2149"/>
                <a:gd name="T89" fmla="*/ 761 h 761"/>
                <a:gd name="T90" fmla="*/ 2127 w 2149"/>
                <a:gd name="T91" fmla="*/ 717 h 761"/>
                <a:gd name="T92" fmla="*/ 1029 w 2149"/>
                <a:gd name="T93" fmla="*/ 717 h 761"/>
                <a:gd name="T94" fmla="*/ 1098 w 2149"/>
                <a:gd name="T95" fmla="*/ 761 h 761"/>
                <a:gd name="T96" fmla="*/ 1644 w 2149"/>
                <a:gd name="T97" fmla="*/ 449 h 761"/>
                <a:gd name="T98" fmla="*/ 1686 w 2149"/>
                <a:gd name="T99" fmla="*/ 445 h 761"/>
                <a:gd name="T100" fmla="*/ 1636 w 2149"/>
                <a:gd name="T101" fmla="*/ 304 h 761"/>
                <a:gd name="T102" fmla="*/ 1641 w 2149"/>
                <a:gd name="T103" fmla="*/ 391 h 761"/>
                <a:gd name="T104" fmla="*/ 1644 w 2149"/>
                <a:gd name="T105" fmla="*/ 449 h 761"/>
                <a:gd name="T106" fmla="*/ 1929 w 2149"/>
                <a:gd name="T107" fmla="*/ 449 h 761"/>
                <a:gd name="T108" fmla="*/ 1936 w 2149"/>
                <a:gd name="T109" fmla="*/ 304 h 761"/>
                <a:gd name="T110" fmla="*/ 1887 w 2149"/>
                <a:gd name="T111" fmla="*/ 445 h 7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149" h="761">
                  <a:moveTo>
                    <a:pt x="1233" y="232"/>
                  </a:moveTo>
                  <a:cubicBezTo>
                    <a:pt x="1233" y="232"/>
                    <a:pt x="1233" y="232"/>
                    <a:pt x="1233" y="232"/>
                  </a:cubicBezTo>
                  <a:cubicBezTo>
                    <a:pt x="1232" y="232"/>
                    <a:pt x="1229" y="241"/>
                    <a:pt x="1214" y="259"/>
                  </a:cubicBezTo>
                  <a:cubicBezTo>
                    <a:pt x="1214" y="259"/>
                    <a:pt x="1214" y="259"/>
                    <a:pt x="1201" y="259"/>
                  </a:cubicBezTo>
                  <a:cubicBezTo>
                    <a:pt x="1201" y="259"/>
                    <a:pt x="1201" y="252"/>
                    <a:pt x="1200" y="131"/>
                  </a:cubicBezTo>
                  <a:cubicBezTo>
                    <a:pt x="1180" y="228"/>
                    <a:pt x="977" y="139"/>
                    <a:pt x="977" y="139"/>
                  </a:cubicBezTo>
                  <a:cubicBezTo>
                    <a:pt x="927" y="155"/>
                    <a:pt x="936" y="256"/>
                    <a:pt x="936" y="256"/>
                  </a:cubicBezTo>
                  <a:cubicBezTo>
                    <a:pt x="936" y="256"/>
                    <a:pt x="936" y="256"/>
                    <a:pt x="925" y="255"/>
                  </a:cubicBezTo>
                  <a:cubicBezTo>
                    <a:pt x="925" y="255"/>
                    <a:pt x="925" y="249"/>
                    <a:pt x="908" y="234"/>
                  </a:cubicBezTo>
                  <a:cubicBezTo>
                    <a:pt x="908" y="234"/>
                    <a:pt x="908" y="234"/>
                    <a:pt x="908" y="234"/>
                  </a:cubicBezTo>
                  <a:cubicBezTo>
                    <a:pt x="901" y="215"/>
                    <a:pt x="901" y="195"/>
                    <a:pt x="901" y="173"/>
                  </a:cubicBezTo>
                  <a:cubicBezTo>
                    <a:pt x="901" y="78"/>
                    <a:pt x="974" y="0"/>
                    <a:pt x="1070" y="0"/>
                  </a:cubicBezTo>
                  <a:cubicBezTo>
                    <a:pt x="1166" y="0"/>
                    <a:pt x="1239" y="78"/>
                    <a:pt x="1239" y="173"/>
                  </a:cubicBezTo>
                  <a:cubicBezTo>
                    <a:pt x="1239" y="194"/>
                    <a:pt x="1239" y="214"/>
                    <a:pt x="1233" y="232"/>
                  </a:cubicBezTo>
                  <a:close/>
                  <a:moveTo>
                    <a:pt x="523" y="173"/>
                  </a:moveTo>
                  <a:cubicBezTo>
                    <a:pt x="523" y="78"/>
                    <a:pt x="449" y="0"/>
                    <a:pt x="354" y="0"/>
                  </a:cubicBezTo>
                  <a:cubicBezTo>
                    <a:pt x="258" y="0"/>
                    <a:pt x="185" y="78"/>
                    <a:pt x="185" y="173"/>
                  </a:cubicBezTo>
                  <a:cubicBezTo>
                    <a:pt x="185" y="195"/>
                    <a:pt x="185" y="215"/>
                    <a:pt x="192" y="234"/>
                  </a:cubicBezTo>
                  <a:cubicBezTo>
                    <a:pt x="192" y="234"/>
                    <a:pt x="192" y="234"/>
                    <a:pt x="192" y="234"/>
                  </a:cubicBezTo>
                  <a:cubicBezTo>
                    <a:pt x="208" y="249"/>
                    <a:pt x="208" y="255"/>
                    <a:pt x="208" y="255"/>
                  </a:cubicBezTo>
                  <a:cubicBezTo>
                    <a:pt x="220" y="256"/>
                    <a:pt x="220" y="256"/>
                    <a:pt x="220" y="256"/>
                  </a:cubicBezTo>
                  <a:cubicBezTo>
                    <a:pt x="220" y="256"/>
                    <a:pt x="211" y="155"/>
                    <a:pt x="261" y="139"/>
                  </a:cubicBezTo>
                  <a:cubicBezTo>
                    <a:pt x="261" y="139"/>
                    <a:pt x="464" y="228"/>
                    <a:pt x="483" y="131"/>
                  </a:cubicBezTo>
                  <a:cubicBezTo>
                    <a:pt x="485" y="252"/>
                    <a:pt x="485" y="259"/>
                    <a:pt x="485" y="259"/>
                  </a:cubicBezTo>
                  <a:cubicBezTo>
                    <a:pt x="497" y="259"/>
                    <a:pt x="497" y="259"/>
                    <a:pt x="497" y="259"/>
                  </a:cubicBezTo>
                  <a:cubicBezTo>
                    <a:pt x="513" y="241"/>
                    <a:pt x="516" y="232"/>
                    <a:pt x="516" y="232"/>
                  </a:cubicBezTo>
                  <a:cubicBezTo>
                    <a:pt x="516" y="232"/>
                    <a:pt x="516" y="232"/>
                    <a:pt x="517" y="232"/>
                  </a:cubicBezTo>
                  <a:cubicBezTo>
                    <a:pt x="523" y="214"/>
                    <a:pt x="523" y="194"/>
                    <a:pt x="523" y="173"/>
                  </a:cubicBezTo>
                  <a:close/>
                  <a:moveTo>
                    <a:pt x="881" y="391"/>
                  </a:moveTo>
                  <a:cubicBezTo>
                    <a:pt x="881" y="296"/>
                    <a:pt x="807" y="218"/>
                    <a:pt x="712" y="218"/>
                  </a:cubicBezTo>
                  <a:cubicBezTo>
                    <a:pt x="616" y="218"/>
                    <a:pt x="543" y="296"/>
                    <a:pt x="543" y="391"/>
                  </a:cubicBezTo>
                  <a:cubicBezTo>
                    <a:pt x="543" y="408"/>
                    <a:pt x="551" y="425"/>
                    <a:pt x="554" y="440"/>
                  </a:cubicBezTo>
                  <a:cubicBezTo>
                    <a:pt x="555" y="441"/>
                    <a:pt x="554" y="441"/>
                    <a:pt x="555" y="442"/>
                  </a:cubicBezTo>
                  <a:cubicBezTo>
                    <a:pt x="557" y="459"/>
                    <a:pt x="594" y="513"/>
                    <a:pt x="607" y="522"/>
                  </a:cubicBezTo>
                  <a:cubicBezTo>
                    <a:pt x="617" y="548"/>
                    <a:pt x="612" y="541"/>
                    <a:pt x="620" y="553"/>
                  </a:cubicBezTo>
                  <a:cubicBezTo>
                    <a:pt x="630" y="568"/>
                    <a:pt x="680" y="597"/>
                    <a:pt x="712" y="597"/>
                  </a:cubicBezTo>
                  <a:cubicBezTo>
                    <a:pt x="744" y="597"/>
                    <a:pt x="795" y="569"/>
                    <a:pt x="804" y="553"/>
                  </a:cubicBezTo>
                  <a:cubicBezTo>
                    <a:pt x="812" y="538"/>
                    <a:pt x="806" y="548"/>
                    <a:pt x="817" y="522"/>
                  </a:cubicBezTo>
                  <a:cubicBezTo>
                    <a:pt x="836" y="509"/>
                    <a:pt x="867" y="454"/>
                    <a:pt x="868" y="446"/>
                  </a:cubicBezTo>
                  <a:cubicBezTo>
                    <a:pt x="868" y="445"/>
                    <a:pt x="868" y="445"/>
                    <a:pt x="868" y="445"/>
                  </a:cubicBezTo>
                  <a:cubicBezTo>
                    <a:pt x="873" y="428"/>
                    <a:pt x="881" y="410"/>
                    <a:pt x="881" y="391"/>
                  </a:cubicBezTo>
                  <a:close/>
                  <a:moveTo>
                    <a:pt x="1056" y="535"/>
                  </a:moveTo>
                  <a:cubicBezTo>
                    <a:pt x="1056" y="536"/>
                    <a:pt x="1056" y="537"/>
                    <a:pt x="1056" y="538"/>
                  </a:cubicBezTo>
                  <a:cubicBezTo>
                    <a:pt x="1033" y="671"/>
                    <a:pt x="1033" y="671"/>
                    <a:pt x="1033" y="671"/>
                  </a:cubicBezTo>
                  <a:cubicBezTo>
                    <a:pt x="1105" y="671"/>
                    <a:pt x="1105" y="671"/>
                    <a:pt x="1105" y="671"/>
                  </a:cubicBezTo>
                  <a:cubicBezTo>
                    <a:pt x="1084" y="538"/>
                    <a:pt x="1084" y="538"/>
                    <a:pt x="1084" y="538"/>
                  </a:cubicBezTo>
                  <a:cubicBezTo>
                    <a:pt x="1084" y="537"/>
                    <a:pt x="1084" y="536"/>
                    <a:pt x="1084" y="535"/>
                  </a:cubicBezTo>
                  <a:cubicBezTo>
                    <a:pt x="1106" y="500"/>
                    <a:pt x="1106" y="500"/>
                    <a:pt x="1106" y="500"/>
                  </a:cubicBezTo>
                  <a:cubicBezTo>
                    <a:pt x="1107" y="498"/>
                    <a:pt x="1106" y="496"/>
                    <a:pt x="1104" y="496"/>
                  </a:cubicBezTo>
                  <a:cubicBezTo>
                    <a:pt x="1097" y="494"/>
                    <a:pt x="1083" y="491"/>
                    <a:pt x="1071" y="491"/>
                  </a:cubicBezTo>
                  <a:cubicBezTo>
                    <a:pt x="1059" y="491"/>
                    <a:pt x="1044" y="494"/>
                    <a:pt x="1036" y="496"/>
                  </a:cubicBezTo>
                  <a:cubicBezTo>
                    <a:pt x="1034" y="496"/>
                    <a:pt x="1033" y="499"/>
                    <a:pt x="1034" y="500"/>
                  </a:cubicBezTo>
                  <a:lnTo>
                    <a:pt x="1056" y="535"/>
                  </a:lnTo>
                  <a:close/>
                  <a:moveTo>
                    <a:pt x="1597" y="391"/>
                  </a:moveTo>
                  <a:cubicBezTo>
                    <a:pt x="1597" y="296"/>
                    <a:pt x="1524" y="218"/>
                    <a:pt x="1428" y="218"/>
                  </a:cubicBezTo>
                  <a:cubicBezTo>
                    <a:pt x="1333" y="218"/>
                    <a:pt x="1259" y="296"/>
                    <a:pt x="1259" y="391"/>
                  </a:cubicBezTo>
                  <a:cubicBezTo>
                    <a:pt x="1259" y="408"/>
                    <a:pt x="1267" y="425"/>
                    <a:pt x="1271" y="440"/>
                  </a:cubicBezTo>
                  <a:cubicBezTo>
                    <a:pt x="1271" y="441"/>
                    <a:pt x="1271" y="441"/>
                    <a:pt x="1271" y="442"/>
                  </a:cubicBezTo>
                  <a:cubicBezTo>
                    <a:pt x="1274" y="459"/>
                    <a:pt x="1310" y="513"/>
                    <a:pt x="1323" y="522"/>
                  </a:cubicBezTo>
                  <a:cubicBezTo>
                    <a:pt x="1333" y="548"/>
                    <a:pt x="1328" y="541"/>
                    <a:pt x="1336" y="553"/>
                  </a:cubicBezTo>
                  <a:cubicBezTo>
                    <a:pt x="1346" y="568"/>
                    <a:pt x="1396" y="597"/>
                    <a:pt x="1428" y="597"/>
                  </a:cubicBezTo>
                  <a:cubicBezTo>
                    <a:pt x="1460" y="597"/>
                    <a:pt x="1511" y="569"/>
                    <a:pt x="1520" y="553"/>
                  </a:cubicBezTo>
                  <a:cubicBezTo>
                    <a:pt x="1529" y="538"/>
                    <a:pt x="1523" y="548"/>
                    <a:pt x="1533" y="522"/>
                  </a:cubicBezTo>
                  <a:cubicBezTo>
                    <a:pt x="1552" y="509"/>
                    <a:pt x="1583" y="454"/>
                    <a:pt x="1584" y="446"/>
                  </a:cubicBezTo>
                  <a:cubicBezTo>
                    <a:pt x="1584" y="445"/>
                    <a:pt x="1584" y="445"/>
                    <a:pt x="1584" y="445"/>
                  </a:cubicBezTo>
                  <a:cubicBezTo>
                    <a:pt x="1589" y="428"/>
                    <a:pt x="1597" y="410"/>
                    <a:pt x="1597" y="391"/>
                  </a:cubicBezTo>
                  <a:close/>
                  <a:moveTo>
                    <a:pt x="1958" y="175"/>
                  </a:moveTo>
                  <a:cubicBezTo>
                    <a:pt x="1958" y="78"/>
                    <a:pt x="1883" y="0"/>
                    <a:pt x="1786" y="0"/>
                  </a:cubicBezTo>
                  <a:cubicBezTo>
                    <a:pt x="1689" y="0"/>
                    <a:pt x="1614" y="78"/>
                    <a:pt x="1614" y="175"/>
                  </a:cubicBezTo>
                  <a:cubicBezTo>
                    <a:pt x="1614" y="196"/>
                    <a:pt x="1617" y="227"/>
                    <a:pt x="1624" y="246"/>
                  </a:cubicBezTo>
                  <a:cubicBezTo>
                    <a:pt x="1624" y="246"/>
                    <a:pt x="1624" y="246"/>
                    <a:pt x="1624" y="246"/>
                  </a:cubicBezTo>
                  <a:cubicBezTo>
                    <a:pt x="1641" y="261"/>
                    <a:pt x="1641" y="157"/>
                    <a:pt x="1691" y="140"/>
                  </a:cubicBezTo>
                  <a:cubicBezTo>
                    <a:pt x="1692" y="140"/>
                    <a:pt x="1692" y="140"/>
                    <a:pt x="1693" y="141"/>
                  </a:cubicBezTo>
                  <a:cubicBezTo>
                    <a:pt x="1919" y="260"/>
                    <a:pt x="1919" y="260"/>
                    <a:pt x="1919" y="260"/>
                  </a:cubicBezTo>
                  <a:cubicBezTo>
                    <a:pt x="1920" y="261"/>
                    <a:pt x="1920" y="261"/>
                    <a:pt x="1920" y="261"/>
                  </a:cubicBezTo>
                  <a:cubicBezTo>
                    <a:pt x="1931" y="261"/>
                    <a:pt x="1931" y="261"/>
                    <a:pt x="1931" y="261"/>
                  </a:cubicBezTo>
                  <a:cubicBezTo>
                    <a:pt x="1932" y="261"/>
                    <a:pt x="1933" y="260"/>
                    <a:pt x="1933" y="260"/>
                  </a:cubicBezTo>
                  <a:cubicBezTo>
                    <a:pt x="1949" y="242"/>
                    <a:pt x="1951" y="234"/>
                    <a:pt x="1952" y="233"/>
                  </a:cubicBezTo>
                  <a:cubicBezTo>
                    <a:pt x="1952" y="233"/>
                    <a:pt x="1952" y="234"/>
                    <a:pt x="1952" y="234"/>
                  </a:cubicBezTo>
                  <a:cubicBezTo>
                    <a:pt x="1959" y="215"/>
                    <a:pt x="1958" y="195"/>
                    <a:pt x="1958" y="175"/>
                  </a:cubicBezTo>
                  <a:close/>
                  <a:moveTo>
                    <a:pt x="395" y="717"/>
                  </a:moveTo>
                  <a:cubicBezTo>
                    <a:pt x="22" y="717"/>
                    <a:pt x="22" y="717"/>
                    <a:pt x="22" y="717"/>
                  </a:cubicBezTo>
                  <a:cubicBezTo>
                    <a:pt x="9" y="717"/>
                    <a:pt x="0" y="727"/>
                    <a:pt x="0" y="739"/>
                  </a:cubicBezTo>
                  <a:cubicBezTo>
                    <a:pt x="0" y="752"/>
                    <a:pt x="9" y="761"/>
                    <a:pt x="22" y="761"/>
                  </a:cubicBezTo>
                  <a:cubicBezTo>
                    <a:pt x="382" y="761"/>
                    <a:pt x="382" y="761"/>
                    <a:pt x="382" y="761"/>
                  </a:cubicBezTo>
                  <a:cubicBezTo>
                    <a:pt x="386" y="745"/>
                    <a:pt x="391" y="731"/>
                    <a:pt x="395" y="717"/>
                  </a:cubicBezTo>
                  <a:close/>
                  <a:moveTo>
                    <a:pt x="2127" y="717"/>
                  </a:moveTo>
                  <a:cubicBezTo>
                    <a:pt x="1745" y="717"/>
                    <a:pt x="1745" y="717"/>
                    <a:pt x="1745" y="717"/>
                  </a:cubicBezTo>
                  <a:cubicBezTo>
                    <a:pt x="1749" y="731"/>
                    <a:pt x="1754" y="745"/>
                    <a:pt x="1758" y="761"/>
                  </a:cubicBezTo>
                  <a:cubicBezTo>
                    <a:pt x="2127" y="761"/>
                    <a:pt x="2127" y="761"/>
                    <a:pt x="2127" y="761"/>
                  </a:cubicBezTo>
                  <a:cubicBezTo>
                    <a:pt x="2139" y="761"/>
                    <a:pt x="2149" y="752"/>
                    <a:pt x="2149" y="739"/>
                  </a:cubicBezTo>
                  <a:cubicBezTo>
                    <a:pt x="2149" y="727"/>
                    <a:pt x="2139" y="717"/>
                    <a:pt x="2127" y="717"/>
                  </a:cubicBezTo>
                  <a:close/>
                  <a:moveTo>
                    <a:pt x="1111" y="717"/>
                  </a:moveTo>
                  <a:cubicBezTo>
                    <a:pt x="1029" y="717"/>
                    <a:pt x="1029" y="717"/>
                    <a:pt x="1029" y="717"/>
                  </a:cubicBezTo>
                  <a:cubicBezTo>
                    <a:pt x="1033" y="731"/>
                    <a:pt x="1037" y="745"/>
                    <a:pt x="1042" y="761"/>
                  </a:cubicBezTo>
                  <a:cubicBezTo>
                    <a:pt x="1098" y="761"/>
                    <a:pt x="1098" y="761"/>
                    <a:pt x="1098" y="761"/>
                  </a:cubicBezTo>
                  <a:cubicBezTo>
                    <a:pt x="1103" y="745"/>
                    <a:pt x="1107" y="731"/>
                    <a:pt x="1111" y="717"/>
                  </a:cubicBezTo>
                  <a:close/>
                  <a:moveTo>
                    <a:pt x="1644" y="449"/>
                  </a:moveTo>
                  <a:cubicBezTo>
                    <a:pt x="1662" y="447"/>
                    <a:pt x="1676" y="447"/>
                    <a:pt x="1682" y="447"/>
                  </a:cubicBezTo>
                  <a:cubicBezTo>
                    <a:pt x="1684" y="446"/>
                    <a:pt x="1686" y="445"/>
                    <a:pt x="1686" y="445"/>
                  </a:cubicBezTo>
                  <a:cubicBezTo>
                    <a:pt x="1686" y="412"/>
                    <a:pt x="1686" y="412"/>
                    <a:pt x="1686" y="412"/>
                  </a:cubicBezTo>
                  <a:cubicBezTo>
                    <a:pt x="1686" y="412"/>
                    <a:pt x="1643" y="333"/>
                    <a:pt x="1636" y="304"/>
                  </a:cubicBezTo>
                  <a:cubicBezTo>
                    <a:pt x="1633" y="304"/>
                    <a:pt x="1633" y="314"/>
                    <a:pt x="1632" y="328"/>
                  </a:cubicBezTo>
                  <a:cubicBezTo>
                    <a:pt x="1638" y="348"/>
                    <a:pt x="1641" y="369"/>
                    <a:pt x="1641" y="391"/>
                  </a:cubicBezTo>
                  <a:cubicBezTo>
                    <a:pt x="1641" y="412"/>
                    <a:pt x="1635" y="430"/>
                    <a:pt x="1630" y="445"/>
                  </a:cubicBezTo>
                  <a:cubicBezTo>
                    <a:pt x="1635" y="447"/>
                    <a:pt x="1640" y="448"/>
                    <a:pt x="1644" y="449"/>
                  </a:cubicBezTo>
                  <a:close/>
                  <a:moveTo>
                    <a:pt x="1891" y="447"/>
                  </a:moveTo>
                  <a:cubicBezTo>
                    <a:pt x="1898" y="447"/>
                    <a:pt x="1912" y="447"/>
                    <a:pt x="1929" y="449"/>
                  </a:cubicBezTo>
                  <a:cubicBezTo>
                    <a:pt x="1944" y="446"/>
                    <a:pt x="1963" y="438"/>
                    <a:pt x="1982" y="418"/>
                  </a:cubicBezTo>
                  <a:cubicBezTo>
                    <a:pt x="1928" y="413"/>
                    <a:pt x="1946" y="304"/>
                    <a:pt x="1936" y="304"/>
                  </a:cubicBezTo>
                  <a:cubicBezTo>
                    <a:pt x="1929" y="335"/>
                    <a:pt x="1887" y="412"/>
                    <a:pt x="1887" y="412"/>
                  </a:cubicBezTo>
                  <a:cubicBezTo>
                    <a:pt x="1887" y="445"/>
                    <a:pt x="1887" y="445"/>
                    <a:pt x="1887" y="445"/>
                  </a:cubicBezTo>
                  <a:cubicBezTo>
                    <a:pt x="1887" y="445"/>
                    <a:pt x="1889" y="446"/>
                    <a:pt x="1891" y="447"/>
                  </a:cubicBezTo>
                  <a:close/>
                </a:path>
              </a:pathLst>
            </a:custGeom>
            <a:solidFill>
              <a:srgbClr val="29BA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75757"/>
                </a:solidFill>
                <a:effectLst/>
                <a:uLnTx/>
                <a:uFillTx/>
                <a:latin typeface="Trebuchet MS"/>
                <a:ea typeface="+mn-ea"/>
                <a:cs typeface="+mn-cs"/>
              </a:endParaRPr>
            </a:p>
          </p:txBody>
        </p:sp>
      </p:grpSp>
      <p:grpSp>
        <p:nvGrpSpPr>
          <p:cNvPr id="14" name="bcgIcons_MagnifyingGlassSearch">
            <a:extLst>
              <a:ext uri="{FF2B5EF4-FFF2-40B4-BE49-F238E27FC236}">
                <a16:creationId xmlns:a16="http://schemas.microsoft.com/office/drawing/2014/main" id="{FD694682-117A-E69D-9654-8C15AFCA7700}"/>
              </a:ext>
            </a:extLst>
          </p:cNvPr>
          <p:cNvGrpSpPr>
            <a:grpSpLocks/>
          </p:cNvGrpSpPr>
          <p:nvPr/>
        </p:nvGrpSpPr>
        <p:grpSpPr bwMode="auto">
          <a:xfrm>
            <a:off x="9731787" y="2361775"/>
            <a:ext cx="780186" cy="780949"/>
            <a:chOff x="1682" y="0"/>
            <a:chExt cx="4316" cy="4320"/>
          </a:xfrm>
        </p:grpSpPr>
        <p:sp>
          <p:nvSpPr>
            <p:cNvPr id="15" name="AutoShape 8">
              <a:extLst>
                <a:ext uri="{FF2B5EF4-FFF2-40B4-BE49-F238E27FC236}">
                  <a16:creationId xmlns:a16="http://schemas.microsoft.com/office/drawing/2014/main" id="{7EB16BC1-9850-CB59-AAFD-93F05B31A18C}"/>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dirty="0">
                <a:ln>
                  <a:noFill/>
                </a:ln>
                <a:solidFill>
                  <a:srgbClr val="575757"/>
                </a:solidFill>
                <a:effectLst/>
                <a:uLnTx/>
                <a:uFillTx/>
                <a:latin typeface="Trebuchet MS"/>
                <a:ea typeface="+mn-ea"/>
                <a:cs typeface="+mn-cs"/>
              </a:endParaRPr>
            </a:p>
          </p:txBody>
        </p:sp>
        <p:sp>
          <p:nvSpPr>
            <p:cNvPr id="16" name="Freeform 10">
              <a:extLst>
                <a:ext uri="{FF2B5EF4-FFF2-40B4-BE49-F238E27FC236}">
                  <a16:creationId xmlns:a16="http://schemas.microsoft.com/office/drawing/2014/main" id="{F6E4DC9F-0D78-4AD8-64B3-18728D678D28}"/>
                </a:ext>
              </a:extLst>
            </p:cNvPr>
            <p:cNvSpPr>
              <a:spLocks noEditPoints="1"/>
            </p:cNvSpPr>
            <p:nvPr/>
          </p:nvSpPr>
          <p:spPr bwMode="auto">
            <a:xfrm>
              <a:off x="3280" y="703"/>
              <a:ext cx="1821" cy="1802"/>
            </a:xfrm>
            <a:custGeom>
              <a:avLst/>
              <a:gdLst>
                <a:gd name="T0" fmla="*/ 748 w 972"/>
                <a:gd name="T1" fmla="*/ 142 h 961"/>
                <a:gd name="T2" fmla="*/ 145 w 972"/>
                <a:gd name="T3" fmla="*/ 223 h 961"/>
                <a:gd name="T4" fmla="*/ 225 w 972"/>
                <a:gd name="T5" fmla="*/ 818 h 961"/>
                <a:gd name="T6" fmla="*/ 827 w 972"/>
                <a:gd name="T7" fmla="*/ 738 h 961"/>
                <a:gd name="T8" fmla="*/ 748 w 972"/>
                <a:gd name="T9" fmla="*/ 142 h 961"/>
                <a:gd name="T10" fmla="*/ 777 w 972"/>
                <a:gd name="T11" fmla="*/ 700 h 961"/>
                <a:gd name="T12" fmla="*/ 701 w 972"/>
                <a:gd name="T13" fmla="*/ 774 h 961"/>
                <a:gd name="T14" fmla="*/ 688 w 972"/>
                <a:gd name="T15" fmla="*/ 778 h 961"/>
                <a:gd name="T16" fmla="*/ 670 w 972"/>
                <a:gd name="T17" fmla="*/ 769 h 961"/>
                <a:gd name="T18" fmla="*/ 675 w 972"/>
                <a:gd name="T19" fmla="*/ 738 h 961"/>
                <a:gd name="T20" fmla="*/ 742 w 972"/>
                <a:gd name="T21" fmla="*/ 673 h 961"/>
                <a:gd name="T22" fmla="*/ 806 w 972"/>
                <a:gd name="T23" fmla="*/ 438 h 961"/>
                <a:gd name="T24" fmla="*/ 683 w 972"/>
                <a:gd name="T25" fmla="*/ 227 h 961"/>
                <a:gd name="T26" fmla="*/ 641 w 972"/>
                <a:gd name="T27" fmla="*/ 200 h 961"/>
                <a:gd name="T28" fmla="*/ 632 w 972"/>
                <a:gd name="T29" fmla="*/ 170 h 961"/>
                <a:gd name="T30" fmla="*/ 661 w 972"/>
                <a:gd name="T31" fmla="*/ 161 h 961"/>
                <a:gd name="T32" fmla="*/ 709 w 972"/>
                <a:gd name="T33" fmla="*/ 192 h 961"/>
                <a:gd name="T34" fmla="*/ 850 w 972"/>
                <a:gd name="T35" fmla="*/ 432 h 961"/>
                <a:gd name="T36" fmla="*/ 777 w 972"/>
                <a:gd name="T37" fmla="*/ 700 h 9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972" h="961">
                  <a:moveTo>
                    <a:pt x="748" y="142"/>
                  </a:moveTo>
                  <a:cubicBezTo>
                    <a:pt x="560" y="0"/>
                    <a:pt x="290" y="36"/>
                    <a:pt x="145" y="223"/>
                  </a:cubicBezTo>
                  <a:cubicBezTo>
                    <a:pt x="0" y="409"/>
                    <a:pt x="35" y="676"/>
                    <a:pt x="225" y="818"/>
                  </a:cubicBezTo>
                  <a:cubicBezTo>
                    <a:pt x="413" y="961"/>
                    <a:pt x="683" y="925"/>
                    <a:pt x="827" y="738"/>
                  </a:cubicBezTo>
                  <a:cubicBezTo>
                    <a:pt x="972" y="551"/>
                    <a:pt x="936" y="285"/>
                    <a:pt x="748" y="142"/>
                  </a:cubicBezTo>
                  <a:close/>
                  <a:moveTo>
                    <a:pt x="777" y="700"/>
                  </a:moveTo>
                  <a:cubicBezTo>
                    <a:pt x="755" y="729"/>
                    <a:pt x="730" y="753"/>
                    <a:pt x="701" y="774"/>
                  </a:cubicBezTo>
                  <a:cubicBezTo>
                    <a:pt x="697" y="777"/>
                    <a:pt x="692" y="778"/>
                    <a:pt x="688" y="778"/>
                  </a:cubicBezTo>
                  <a:cubicBezTo>
                    <a:pt x="681" y="778"/>
                    <a:pt x="674" y="775"/>
                    <a:pt x="670" y="769"/>
                  </a:cubicBezTo>
                  <a:cubicBezTo>
                    <a:pt x="663" y="759"/>
                    <a:pt x="665" y="746"/>
                    <a:pt x="675" y="738"/>
                  </a:cubicBezTo>
                  <a:cubicBezTo>
                    <a:pt x="700" y="720"/>
                    <a:pt x="723" y="698"/>
                    <a:pt x="742" y="673"/>
                  </a:cubicBezTo>
                  <a:cubicBezTo>
                    <a:pt x="795" y="606"/>
                    <a:pt x="817" y="522"/>
                    <a:pt x="806" y="438"/>
                  </a:cubicBezTo>
                  <a:cubicBezTo>
                    <a:pt x="795" y="353"/>
                    <a:pt x="751" y="279"/>
                    <a:pt x="683" y="227"/>
                  </a:cubicBezTo>
                  <a:cubicBezTo>
                    <a:pt x="669" y="217"/>
                    <a:pt x="655" y="208"/>
                    <a:pt x="641" y="200"/>
                  </a:cubicBezTo>
                  <a:cubicBezTo>
                    <a:pt x="630" y="194"/>
                    <a:pt x="626" y="181"/>
                    <a:pt x="632" y="170"/>
                  </a:cubicBezTo>
                  <a:cubicBezTo>
                    <a:pt x="637" y="159"/>
                    <a:pt x="651" y="155"/>
                    <a:pt x="661" y="161"/>
                  </a:cubicBezTo>
                  <a:cubicBezTo>
                    <a:pt x="678" y="170"/>
                    <a:pt x="694" y="180"/>
                    <a:pt x="709" y="192"/>
                  </a:cubicBezTo>
                  <a:cubicBezTo>
                    <a:pt x="787" y="251"/>
                    <a:pt x="837" y="336"/>
                    <a:pt x="850" y="432"/>
                  </a:cubicBezTo>
                  <a:cubicBezTo>
                    <a:pt x="862" y="528"/>
                    <a:pt x="837" y="623"/>
                    <a:pt x="777" y="700"/>
                  </a:cubicBezTo>
                  <a:close/>
                </a:path>
              </a:pathLst>
            </a:custGeom>
            <a:solidFill>
              <a:srgbClr val="29BA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dirty="0">
                <a:ln>
                  <a:noFill/>
                </a:ln>
                <a:solidFill>
                  <a:srgbClr val="575757"/>
                </a:solidFill>
                <a:effectLst/>
                <a:uLnTx/>
                <a:uFillTx/>
                <a:latin typeface="Trebuchet MS"/>
                <a:ea typeface="+mn-ea"/>
                <a:cs typeface="+mn-cs"/>
              </a:endParaRPr>
            </a:p>
          </p:txBody>
        </p:sp>
        <p:sp>
          <p:nvSpPr>
            <p:cNvPr id="17" name="Freeform 11">
              <a:extLst>
                <a:ext uri="{FF2B5EF4-FFF2-40B4-BE49-F238E27FC236}">
                  <a16:creationId xmlns:a16="http://schemas.microsoft.com/office/drawing/2014/main" id="{038E1E4D-2B60-DB5E-17FF-D46D37E8B43A}"/>
                </a:ext>
              </a:extLst>
            </p:cNvPr>
            <p:cNvSpPr>
              <a:spLocks noEditPoints="1"/>
            </p:cNvSpPr>
            <p:nvPr/>
          </p:nvSpPr>
          <p:spPr bwMode="auto">
            <a:xfrm>
              <a:off x="2422" y="465"/>
              <a:ext cx="2904" cy="3306"/>
            </a:xfrm>
            <a:custGeom>
              <a:avLst/>
              <a:gdLst>
                <a:gd name="T0" fmla="*/ 1270 w 1550"/>
                <a:gd name="T1" fmla="*/ 179 h 1763"/>
                <a:gd name="T2" fmla="*/ 517 w 1550"/>
                <a:gd name="T3" fmla="*/ 280 h 1763"/>
                <a:gd name="T4" fmla="*/ 545 w 1550"/>
                <a:gd name="T5" fmla="*/ 965 h 1763"/>
                <a:gd name="T6" fmla="*/ 437 w 1550"/>
                <a:gd name="T7" fmla="*/ 1107 h 1763"/>
                <a:gd name="T8" fmla="*/ 587 w 1550"/>
                <a:gd name="T9" fmla="*/ 1222 h 1763"/>
                <a:gd name="T10" fmla="*/ 694 w 1550"/>
                <a:gd name="T11" fmla="*/ 1082 h 1763"/>
                <a:gd name="T12" fmla="*/ 1370 w 1550"/>
                <a:gd name="T13" fmla="*/ 933 h 1763"/>
                <a:gd name="T14" fmla="*/ 1270 w 1550"/>
                <a:gd name="T15" fmla="*/ 179 h 1763"/>
                <a:gd name="T16" fmla="*/ 1317 w 1550"/>
                <a:gd name="T17" fmla="*/ 892 h 1763"/>
                <a:gd name="T18" fmla="*/ 701 w 1550"/>
                <a:gd name="T19" fmla="*/ 1009 h 1763"/>
                <a:gd name="T20" fmla="*/ 658 w 1550"/>
                <a:gd name="T21" fmla="*/ 980 h 1763"/>
                <a:gd name="T22" fmla="*/ 614 w 1550"/>
                <a:gd name="T23" fmla="*/ 941 h 1763"/>
                <a:gd name="T24" fmla="*/ 570 w 1550"/>
                <a:gd name="T25" fmla="*/ 320 h 1763"/>
                <a:gd name="T26" fmla="*/ 1229 w 1550"/>
                <a:gd name="T27" fmla="*/ 233 h 1763"/>
                <a:gd name="T28" fmla="*/ 1317 w 1550"/>
                <a:gd name="T29" fmla="*/ 892 h 1763"/>
                <a:gd name="T30" fmla="*/ 181 w 1550"/>
                <a:gd name="T31" fmla="*/ 1763 h 1763"/>
                <a:gd name="T32" fmla="*/ 162 w 1550"/>
                <a:gd name="T33" fmla="*/ 1761 h 1763"/>
                <a:gd name="T34" fmla="*/ 83 w 1550"/>
                <a:gd name="T35" fmla="*/ 1724 h 1763"/>
                <a:gd name="T36" fmla="*/ 27 w 1550"/>
                <a:gd name="T37" fmla="*/ 1584 h 1763"/>
                <a:gd name="T38" fmla="*/ 367 w 1550"/>
                <a:gd name="T39" fmla="*/ 1136 h 1763"/>
                <a:gd name="T40" fmla="*/ 382 w 1550"/>
                <a:gd name="T41" fmla="*/ 1128 h 1763"/>
                <a:gd name="T42" fmla="*/ 398 w 1550"/>
                <a:gd name="T43" fmla="*/ 1132 h 1763"/>
                <a:gd name="T44" fmla="*/ 568 w 1550"/>
                <a:gd name="T45" fmla="*/ 1263 h 1763"/>
                <a:gd name="T46" fmla="*/ 572 w 1550"/>
                <a:gd name="T47" fmla="*/ 1294 h 1763"/>
                <a:gd name="T48" fmla="*/ 233 w 1550"/>
                <a:gd name="T49" fmla="*/ 1740 h 1763"/>
                <a:gd name="T50" fmla="*/ 181 w 1550"/>
                <a:gd name="T51" fmla="*/ 1763 h 1763"/>
                <a:gd name="T52" fmla="*/ 389 w 1550"/>
                <a:gd name="T53" fmla="*/ 1181 h 1763"/>
                <a:gd name="T54" fmla="*/ 62 w 1550"/>
                <a:gd name="T55" fmla="*/ 1610 h 1763"/>
                <a:gd name="T56" fmla="*/ 109 w 1550"/>
                <a:gd name="T57" fmla="*/ 1689 h 1763"/>
                <a:gd name="T58" fmla="*/ 170 w 1550"/>
                <a:gd name="T59" fmla="*/ 1718 h 1763"/>
                <a:gd name="T60" fmla="*/ 198 w 1550"/>
                <a:gd name="T61" fmla="*/ 1714 h 1763"/>
                <a:gd name="T62" fmla="*/ 524 w 1550"/>
                <a:gd name="T63" fmla="*/ 1284 h 1763"/>
                <a:gd name="T64" fmla="*/ 389 w 1550"/>
                <a:gd name="T65" fmla="*/ 1181 h 17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550" h="1763">
                  <a:moveTo>
                    <a:pt x="1270" y="179"/>
                  </a:moveTo>
                  <a:cubicBezTo>
                    <a:pt x="1034" y="0"/>
                    <a:pt x="697" y="45"/>
                    <a:pt x="517" y="280"/>
                  </a:cubicBezTo>
                  <a:cubicBezTo>
                    <a:pt x="358" y="488"/>
                    <a:pt x="375" y="777"/>
                    <a:pt x="545" y="965"/>
                  </a:cubicBezTo>
                  <a:cubicBezTo>
                    <a:pt x="466" y="1068"/>
                    <a:pt x="444" y="1098"/>
                    <a:pt x="437" y="1107"/>
                  </a:cubicBezTo>
                  <a:cubicBezTo>
                    <a:pt x="587" y="1222"/>
                    <a:pt x="587" y="1222"/>
                    <a:pt x="587" y="1222"/>
                  </a:cubicBezTo>
                  <a:cubicBezTo>
                    <a:pt x="694" y="1082"/>
                    <a:pt x="694" y="1082"/>
                    <a:pt x="694" y="1082"/>
                  </a:cubicBezTo>
                  <a:cubicBezTo>
                    <a:pt x="921" y="1201"/>
                    <a:pt x="1209" y="1143"/>
                    <a:pt x="1370" y="933"/>
                  </a:cubicBezTo>
                  <a:cubicBezTo>
                    <a:pt x="1550" y="697"/>
                    <a:pt x="1505" y="360"/>
                    <a:pt x="1270" y="179"/>
                  </a:cubicBezTo>
                  <a:close/>
                  <a:moveTo>
                    <a:pt x="1317" y="892"/>
                  </a:moveTo>
                  <a:cubicBezTo>
                    <a:pt x="1170" y="1084"/>
                    <a:pt x="903" y="1131"/>
                    <a:pt x="701" y="1009"/>
                  </a:cubicBezTo>
                  <a:cubicBezTo>
                    <a:pt x="686" y="1000"/>
                    <a:pt x="672" y="990"/>
                    <a:pt x="658" y="980"/>
                  </a:cubicBezTo>
                  <a:cubicBezTo>
                    <a:pt x="643" y="968"/>
                    <a:pt x="628" y="955"/>
                    <a:pt x="614" y="941"/>
                  </a:cubicBezTo>
                  <a:cubicBezTo>
                    <a:pt x="447" y="778"/>
                    <a:pt x="425" y="511"/>
                    <a:pt x="570" y="320"/>
                  </a:cubicBezTo>
                  <a:cubicBezTo>
                    <a:pt x="728" y="114"/>
                    <a:pt x="1023" y="75"/>
                    <a:pt x="1229" y="233"/>
                  </a:cubicBezTo>
                  <a:cubicBezTo>
                    <a:pt x="1435" y="390"/>
                    <a:pt x="1474" y="686"/>
                    <a:pt x="1317" y="892"/>
                  </a:cubicBezTo>
                  <a:close/>
                  <a:moveTo>
                    <a:pt x="181" y="1763"/>
                  </a:moveTo>
                  <a:cubicBezTo>
                    <a:pt x="175" y="1763"/>
                    <a:pt x="169" y="1762"/>
                    <a:pt x="162" y="1761"/>
                  </a:cubicBezTo>
                  <a:cubicBezTo>
                    <a:pt x="137" y="1757"/>
                    <a:pt x="108" y="1743"/>
                    <a:pt x="83" y="1724"/>
                  </a:cubicBezTo>
                  <a:cubicBezTo>
                    <a:pt x="24" y="1679"/>
                    <a:pt x="0" y="1619"/>
                    <a:pt x="27" y="1584"/>
                  </a:cubicBezTo>
                  <a:cubicBezTo>
                    <a:pt x="367" y="1136"/>
                    <a:pt x="367" y="1136"/>
                    <a:pt x="367" y="1136"/>
                  </a:cubicBezTo>
                  <a:cubicBezTo>
                    <a:pt x="371" y="1132"/>
                    <a:pt x="376" y="1129"/>
                    <a:pt x="382" y="1128"/>
                  </a:cubicBezTo>
                  <a:cubicBezTo>
                    <a:pt x="387" y="1127"/>
                    <a:pt x="393" y="1129"/>
                    <a:pt x="398" y="1132"/>
                  </a:cubicBezTo>
                  <a:cubicBezTo>
                    <a:pt x="568" y="1263"/>
                    <a:pt x="568" y="1263"/>
                    <a:pt x="568" y="1263"/>
                  </a:cubicBezTo>
                  <a:cubicBezTo>
                    <a:pt x="578" y="1270"/>
                    <a:pt x="579" y="1284"/>
                    <a:pt x="572" y="1294"/>
                  </a:cubicBezTo>
                  <a:cubicBezTo>
                    <a:pt x="233" y="1740"/>
                    <a:pt x="233" y="1740"/>
                    <a:pt x="233" y="1740"/>
                  </a:cubicBezTo>
                  <a:cubicBezTo>
                    <a:pt x="221" y="1755"/>
                    <a:pt x="203" y="1763"/>
                    <a:pt x="181" y="1763"/>
                  </a:cubicBezTo>
                  <a:close/>
                  <a:moveTo>
                    <a:pt x="389" y="1181"/>
                  </a:moveTo>
                  <a:cubicBezTo>
                    <a:pt x="62" y="1610"/>
                    <a:pt x="62" y="1610"/>
                    <a:pt x="62" y="1610"/>
                  </a:cubicBezTo>
                  <a:cubicBezTo>
                    <a:pt x="54" y="1621"/>
                    <a:pt x="69" y="1658"/>
                    <a:pt x="109" y="1689"/>
                  </a:cubicBezTo>
                  <a:cubicBezTo>
                    <a:pt x="129" y="1704"/>
                    <a:pt x="151" y="1714"/>
                    <a:pt x="170" y="1718"/>
                  </a:cubicBezTo>
                  <a:cubicBezTo>
                    <a:pt x="183" y="1720"/>
                    <a:pt x="194" y="1718"/>
                    <a:pt x="198" y="1714"/>
                  </a:cubicBezTo>
                  <a:cubicBezTo>
                    <a:pt x="524" y="1284"/>
                    <a:pt x="524" y="1284"/>
                    <a:pt x="524" y="1284"/>
                  </a:cubicBezTo>
                  <a:lnTo>
                    <a:pt x="389" y="1181"/>
                  </a:lnTo>
                  <a:close/>
                </a:path>
              </a:pathLst>
            </a:custGeom>
            <a:solidFill>
              <a:srgbClr val="03522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dirty="0">
                <a:ln>
                  <a:noFill/>
                </a:ln>
                <a:solidFill>
                  <a:srgbClr val="575757"/>
                </a:solidFill>
                <a:effectLst/>
                <a:uLnTx/>
                <a:uFillTx/>
                <a:latin typeface="Trebuchet MS"/>
                <a:ea typeface="+mn-ea"/>
                <a:cs typeface="+mn-cs"/>
              </a:endParaRPr>
            </a:p>
          </p:txBody>
        </p:sp>
      </p:grpSp>
      <p:sp>
        <p:nvSpPr>
          <p:cNvPr id="18" name="ee4pHeader2">
            <a:extLst>
              <a:ext uri="{FF2B5EF4-FFF2-40B4-BE49-F238E27FC236}">
                <a16:creationId xmlns:a16="http://schemas.microsoft.com/office/drawing/2014/main" id="{559C676F-30B7-5FB4-865B-1E46D540DB85}"/>
              </a:ext>
            </a:extLst>
          </p:cNvPr>
          <p:cNvSpPr txBox="1"/>
          <p:nvPr/>
        </p:nvSpPr>
        <p:spPr>
          <a:xfrm>
            <a:off x="630000" y="4004140"/>
            <a:ext cx="3125941" cy="759600"/>
          </a:xfrm>
          <a:prstGeom prst="rect">
            <a:avLst/>
          </a:prstGeom>
          <a:noFill/>
          <a:ln cap="rnd">
            <a:noFill/>
          </a:ln>
        </p:spPr>
        <p:txBody>
          <a:bodyPr wrap="square" lIns="0" tIns="0" rIns="0" bIns="0" rtlCol="0" anchor="b" anchorCtr="0">
            <a:noAutofit/>
          </a:bodyPr>
          <a:lstStyle/>
          <a:p>
            <a:pPr marL="0" marR="0" lvl="3" indent="0" algn="ctr" defTabSz="914400" rtl="0" eaLnBrk="1" fontAlgn="auto" latinLnBrk="0" hangingPunct="1">
              <a:lnSpc>
                <a:spcPct val="100000"/>
              </a:lnSpc>
              <a:spcBef>
                <a:spcPts val="0"/>
              </a:spcBef>
              <a:spcAft>
                <a:spcPts val="0"/>
              </a:spcAft>
              <a:buClrTx/>
              <a:buSzTx/>
              <a:buFontTx/>
              <a:buNone/>
              <a:tabLst/>
              <a:defRPr/>
            </a:pPr>
            <a:endParaRPr kumimoji="0" lang="en-AU" sz="2400" b="0" i="0" u="none" strike="noStrike" kern="1200" cap="none" spc="0" normalizeH="0" baseline="0" noProof="0" dirty="0">
              <a:ln>
                <a:noFill/>
              </a:ln>
              <a:solidFill>
                <a:srgbClr val="29BA74"/>
              </a:solidFill>
              <a:effectLst/>
              <a:uLnTx/>
              <a:uFillTx/>
              <a:latin typeface="Trebuchet MS"/>
              <a:ea typeface="+mn-ea"/>
              <a:cs typeface="+mn-cs"/>
            </a:endParaRPr>
          </a:p>
        </p:txBody>
      </p:sp>
      <p:sp>
        <p:nvSpPr>
          <p:cNvPr id="19" name="ee4pContent2">
            <a:extLst>
              <a:ext uri="{FF2B5EF4-FFF2-40B4-BE49-F238E27FC236}">
                <a16:creationId xmlns:a16="http://schemas.microsoft.com/office/drawing/2014/main" id="{CF7C211A-22F0-2EA4-47B7-0A20CC338A08}"/>
              </a:ext>
            </a:extLst>
          </p:cNvPr>
          <p:cNvSpPr txBox="1"/>
          <p:nvPr/>
        </p:nvSpPr>
        <p:spPr>
          <a:xfrm>
            <a:off x="4668152" y="3716752"/>
            <a:ext cx="3125941" cy="1709533"/>
          </a:xfrm>
          <a:prstGeom prst="rect">
            <a:avLst/>
          </a:prstGeom>
          <a:ln cap="rnd">
            <a:noFill/>
          </a:ln>
        </p:spPr>
        <p:txBody>
          <a:bodyPr vert="horz" wrap="square" lIns="0" tIns="0" rIns="0" bIns="0" rtlCol="0">
            <a:noAutofit/>
          </a:bodyPr>
          <a:lstStyle>
            <a:defPPr>
              <a:defRPr lang="en-US"/>
            </a:defPPr>
            <a:lvl1pPr lvl="0" indent="0">
              <a:lnSpc>
                <a:spcPct val="100000"/>
              </a:lnSpc>
              <a:spcBef>
                <a:spcPts val="0"/>
              </a:spcBef>
              <a:spcAft>
                <a:spcPts val="0"/>
              </a:spcAft>
              <a:buClr>
                <a:srgbClr val="000000"/>
              </a:buClr>
              <a:buSzPct val="100000"/>
              <a:buFont typeface="Trebuchet MS" panose="020B0603020202020204" pitchFamily="34" charset="0"/>
              <a:buNone/>
              <a:defRPr sz="2000">
                <a:solidFill>
                  <a:srgbClr val="575757"/>
                </a:solidFill>
                <a:latin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2400">
                <a:solidFill>
                  <a:schemeClr val="tx2"/>
                </a:solidFill>
                <a:latin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2400" b="1">
                <a:latin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2400">
                <a:latin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5400" baseline="0">
                <a:latin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6600">
                <a:solidFill>
                  <a:schemeClr val="tx2"/>
                </a:solidFill>
                <a:latin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4400">
                <a:solidFill>
                  <a:schemeClr val="tx2"/>
                </a:solidFill>
                <a:latin typeface="Trebuchet MS" panose="020B0603020202020204" pitchFamily="34" charset="0"/>
              </a:defRPr>
            </a:lvl9pPr>
          </a:lstStyle>
          <a:p>
            <a:pPr marL="0" marR="0" lvl="0" indent="0" algn="ctr" defTabSz="914400" rtl="0" eaLnBrk="1" fontAlgn="auto" latinLnBrk="0" hangingPunct="1">
              <a:lnSpc>
                <a:spcPct val="90000"/>
              </a:lnSpc>
              <a:spcBef>
                <a:spcPts val="0"/>
              </a:spcBef>
              <a:spcAft>
                <a:spcPts val="1200"/>
              </a:spcAft>
              <a:buClr>
                <a:srgbClr val="000000"/>
              </a:buClr>
              <a:buSzPct val="100000"/>
              <a:buFont typeface="Trebuchet MS" panose="020B0603020202020204" pitchFamily="34" charset="0"/>
              <a:buNone/>
              <a:tabLst/>
              <a:defRPr/>
            </a:pPr>
            <a:r>
              <a:rPr kumimoji="0" lang="en-AU" sz="2000" b="0" i="0" u="none" strike="noStrike" kern="1200" cap="none" spc="0" normalizeH="0" baseline="0" noProof="0" dirty="0">
                <a:ln>
                  <a:noFill/>
                </a:ln>
                <a:solidFill>
                  <a:srgbClr val="575757"/>
                </a:solidFill>
                <a:effectLst/>
                <a:uLnTx/>
                <a:uFillTx/>
                <a:latin typeface="Trebuchet MS" panose="020B0603020202020204" pitchFamily="34" charset="0"/>
                <a:ea typeface="+mn-ea"/>
                <a:cs typeface="+mn-cs"/>
              </a:rPr>
              <a:t>With a given subtrade, what guest segmentation should we target?</a:t>
            </a:r>
          </a:p>
        </p:txBody>
      </p:sp>
      <p:pic>
        <p:nvPicPr>
          <p:cNvPr id="28" name="Picture 27">
            <a:extLst>
              <a:ext uri="{FF2B5EF4-FFF2-40B4-BE49-F238E27FC236}">
                <a16:creationId xmlns:a16="http://schemas.microsoft.com/office/drawing/2014/main" id="{5B8B5466-2263-60AE-9D04-E74FD348E006}"/>
              </a:ext>
            </a:extLst>
          </p:cNvPr>
          <p:cNvPicPr>
            <a:picLocks noChangeAspect="1"/>
          </p:cNvPicPr>
          <p:nvPr/>
        </p:nvPicPr>
        <p:blipFill>
          <a:blip r:embed="rId7"/>
          <a:stretch>
            <a:fillRect/>
          </a:stretch>
        </p:blipFill>
        <p:spPr>
          <a:xfrm rot="5400000" flipV="1">
            <a:off x="8565848" y="3262922"/>
            <a:ext cx="6858000" cy="332156"/>
          </a:xfrm>
          <a:prstGeom prst="rect">
            <a:avLst/>
          </a:prstGeom>
        </p:spPr>
      </p:pic>
      <p:grpSp>
        <p:nvGrpSpPr>
          <p:cNvPr id="20" name="Group 14">
            <a:extLst>
              <a:ext uri="{FF2B5EF4-FFF2-40B4-BE49-F238E27FC236}">
                <a16:creationId xmlns:a16="http://schemas.microsoft.com/office/drawing/2014/main" id="{1F82B91E-4CC8-9AB3-423D-C532AB994698}"/>
              </a:ext>
            </a:extLst>
          </p:cNvPr>
          <p:cNvGrpSpPr>
            <a:grpSpLocks/>
          </p:cNvGrpSpPr>
          <p:nvPr/>
        </p:nvGrpSpPr>
        <p:grpSpPr bwMode="auto">
          <a:xfrm>
            <a:off x="1804325" y="2315748"/>
            <a:ext cx="780186" cy="780949"/>
            <a:chOff x="1682" y="0"/>
            <a:chExt cx="4316" cy="4320"/>
          </a:xfrm>
        </p:grpSpPr>
        <p:sp>
          <p:nvSpPr>
            <p:cNvPr id="21" name="AutoShape 13">
              <a:extLst>
                <a:ext uri="{FF2B5EF4-FFF2-40B4-BE49-F238E27FC236}">
                  <a16:creationId xmlns:a16="http://schemas.microsoft.com/office/drawing/2014/main" id="{B9ED96B0-BB9E-ACEE-CE99-EC9172440556}"/>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575757"/>
                </a:solidFill>
                <a:effectLst/>
                <a:uLnTx/>
                <a:uFillTx/>
                <a:latin typeface="Trebuchet MS"/>
              </a:endParaRPr>
            </a:p>
          </p:txBody>
        </p:sp>
        <p:sp>
          <p:nvSpPr>
            <p:cNvPr id="23" name="Freeform 15">
              <a:extLst>
                <a:ext uri="{FF2B5EF4-FFF2-40B4-BE49-F238E27FC236}">
                  <a16:creationId xmlns:a16="http://schemas.microsoft.com/office/drawing/2014/main" id="{ABECF8C5-4E47-CEE6-0E3F-165FDC4F25FE}"/>
                </a:ext>
              </a:extLst>
            </p:cNvPr>
            <p:cNvSpPr>
              <a:spLocks noEditPoints="1"/>
            </p:cNvSpPr>
            <p:nvPr/>
          </p:nvSpPr>
          <p:spPr bwMode="auto">
            <a:xfrm>
              <a:off x="2862" y="501"/>
              <a:ext cx="1956" cy="3307"/>
            </a:xfrm>
            <a:custGeom>
              <a:avLst/>
              <a:gdLst>
                <a:gd name="T0" fmla="*/ 0 w 1044"/>
                <a:gd name="T1" fmla="*/ 521 h 1764"/>
                <a:gd name="T2" fmla="*/ 129 w 1044"/>
                <a:gd name="T3" fmla="*/ 864 h 1764"/>
                <a:gd name="T4" fmla="*/ 263 w 1044"/>
                <a:gd name="T5" fmla="*/ 1262 h 1764"/>
                <a:gd name="T6" fmla="*/ 200 w 1044"/>
                <a:gd name="T7" fmla="*/ 1305 h 1764"/>
                <a:gd name="T8" fmla="*/ 206 w 1044"/>
                <a:gd name="T9" fmla="*/ 1414 h 1764"/>
                <a:gd name="T10" fmla="*/ 200 w 1044"/>
                <a:gd name="T11" fmla="*/ 1503 h 1764"/>
                <a:gd name="T12" fmla="*/ 200 w 1044"/>
                <a:gd name="T13" fmla="*/ 1545 h 1764"/>
                <a:gd name="T14" fmla="*/ 243 w 1044"/>
                <a:gd name="T15" fmla="*/ 1659 h 1764"/>
                <a:gd name="T16" fmla="*/ 294 w 1044"/>
                <a:gd name="T17" fmla="*/ 1698 h 1764"/>
                <a:gd name="T18" fmla="*/ 497 w 1044"/>
                <a:gd name="T19" fmla="*/ 1758 h 1764"/>
                <a:gd name="T20" fmla="*/ 737 w 1044"/>
                <a:gd name="T21" fmla="*/ 1718 h 1764"/>
                <a:gd name="T22" fmla="*/ 750 w 1044"/>
                <a:gd name="T23" fmla="*/ 1659 h 1764"/>
                <a:gd name="T24" fmla="*/ 847 w 1044"/>
                <a:gd name="T25" fmla="*/ 1616 h 1764"/>
                <a:gd name="T26" fmla="*/ 842 w 1044"/>
                <a:gd name="T27" fmla="*/ 1524 h 1764"/>
                <a:gd name="T28" fmla="*/ 847 w 1044"/>
                <a:gd name="T29" fmla="*/ 1435 h 1764"/>
                <a:gd name="T30" fmla="*/ 847 w 1044"/>
                <a:gd name="T31" fmla="*/ 1393 h 1764"/>
                <a:gd name="T32" fmla="*/ 804 w 1044"/>
                <a:gd name="T33" fmla="*/ 1262 h 1764"/>
                <a:gd name="T34" fmla="*/ 781 w 1044"/>
                <a:gd name="T35" fmla="*/ 1130 h 1764"/>
                <a:gd name="T36" fmla="*/ 917 w 1044"/>
                <a:gd name="T37" fmla="*/ 862 h 1764"/>
                <a:gd name="T38" fmla="*/ 522 w 1044"/>
                <a:gd name="T39" fmla="*/ 0 h 1764"/>
                <a:gd name="T40" fmla="*/ 244 w 1044"/>
                <a:gd name="T41" fmla="*/ 1436 h 1764"/>
                <a:gd name="T42" fmla="*/ 803 w 1044"/>
                <a:gd name="T43" fmla="*/ 1502 h 1764"/>
                <a:gd name="T44" fmla="*/ 706 w 1044"/>
                <a:gd name="T45" fmla="*/ 1684 h 1764"/>
                <a:gd name="T46" fmla="*/ 520 w 1044"/>
                <a:gd name="T47" fmla="*/ 1713 h 1764"/>
                <a:gd name="T48" fmla="*/ 338 w 1044"/>
                <a:gd name="T49" fmla="*/ 1659 h 1764"/>
                <a:gd name="T50" fmla="*/ 706 w 1044"/>
                <a:gd name="T51" fmla="*/ 1684 h 1764"/>
                <a:gd name="T52" fmla="*/ 244 w 1044"/>
                <a:gd name="T53" fmla="*/ 1546 h 1764"/>
                <a:gd name="T54" fmla="*/ 803 w 1044"/>
                <a:gd name="T55" fmla="*/ 1615 h 1764"/>
                <a:gd name="T56" fmla="*/ 803 w 1044"/>
                <a:gd name="T57" fmla="*/ 1392 h 1764"/>
                <a:gd name="T58" fmla="*/ 244 w 1044"/>
                <a:gd name="T59" fmla="*/ 1306 h 1764"/>
                <a:gd name="T60" fmla="*/ 803 w 1044"/>
                <a:gd name="T61" fmla="*/ 1392 h 1764"/>
                <a:gd name="T62" fmla="*/ 737 w 1044"/>
                <a:gd name="T63" fmla="*/ 1130 h 1764"/>
                <a:gd name="T64" fmla="*/ 307 w 1044"/>
                <a:gd name="T65" fmla="*/ 1262 h 1764"/>
                <a:gd name="T66" fmla="*/ 160 w 1044"/>
                <a:gd name="T67" fmla="*/ 833 h 1764"/>
                <a:gd name="T68" fmla="*/ 522 w 1044"/>
                <a:gd name="T69" fmla="*/ 44 h 1764"/>
                <a:gd name="T70" fmla="*/ 884 w 1044"/>
                <a:gd name="T71" fmla="*/ 833 h 17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44" h="1764">
                  <a:moveTo>
                    <a:pt x="522" y="0"/>
                  </a:moveTo>
                  <a:cubicBezTo>
                    <a:pt x="234" y="0"/>
                    <a:pt x="0" y="234"/>
                    <a:pt x="0" y="521"/>
                  </a:cubicBezTo>
                  <a:cubicBezTo>
                    <a:pt x="0" y="647"/>
                    <a:pt x="46" y="768"/>
                    <a:pt x="128" y="862"/>
                  </a:cubicBezTo>
                  <a:cubicBezTo>
                    <a:pt x="129" y="864"/>
                    <a:pt x="129" y="864"/>
                    <a:pt x="129" y="864"/>
                  </a:cubicBezTo>
                  <a:cubicBezTo>
                    <a:pt x="131" y="865"/>
                    <a:pt x="263" y="991"/>
                    <a:pt x="263" y="1130"/>
                  </a:cubicBezTo>
                  <a:cubicBezTo>
                    <a:pt x="263" y="1262"/>
                    <a:pt x="263" y="1262"/>
                    <a:pt x="263" y="1262"/>
                  </a:cubicBezTo>
                  <a:cubicBezTo>
                    <a:pt x="243" y="1262"/>
                    <a:pt x="243" y="1262"/>
                    <a:pt x="243" y="1262"/>
                  </a:cubicBezTo>
                  <a:cubicBezTo>
                    <a:pt x="219" y="1262"/>
                    <a:pt x="200" y="1281"/>
                    <a:pt x="200" y="1305"/>
                  </a:cubicBezTo>
                  <a:cubicBezTo>
                    <a:pt x="200" y="1393"/>
                    <a:pt x="200" y="1393"/>
                    <a:pt x="200" y="1393"/>
                  </a:cubicBezTo>
                  <a:cubicBezTo>
                    <a:pt x="200" y="1401"/>
                    <a:pt x="202" y="1408"/>
                    <a:pt x="206" y="1414"/>
                  </a:cubicBezTo>
                  <a:cubicBezTo>
                    <a:pt x="202" y="1420"/>
                    <a:pt x="200" y="1427"/>
                    <a:pt x="200" y="1435"/>
                  </a:cubicBezTo>
                  <a:cubicBezTo>
                    <a:pt x="200" y="1503"/>
                    <a:pt x="200" y="1503"/>
                    <a:pt x="200" y="1503"/>
                  </a:cubicBezTo>
                  <a:cubicBezTo>
                    <a:pt x="200" y="1510"/>
                    <a:pt x="202" y="1517"/>
                    <a:pt x="206" y="1524"/>
                  </a:cubicBezTo>
                  <a:cubicBezTo>
                    <a:pt x="202" y="1530"/>
                    <a:pt x="200" y="1537"/>
                    <a:pt x="200" y="1545"/>
                  </a:cubicBezTo>
                  <a:cubicBezTo>
                    <a:pt x="200" y="1616"/>
                    <a:pt x="200" y="1616"/>
                    <a:pt x="200" y="1616"/>
                  </a:cubicBezTo>
                  <a:cubicBezTo>
                    <a:pt x="200" y="1640"/>
                    <a:pt x="219" y="1659"/>
                    <a:pt x="243" y="1659"/>
                  </a:cubicBezTo>
                  <a:cubicBezTo>
                    <a:pt x="294" y="1659"/>
                    <a:pt x="294" y="1659"/>
                    <a:pt x="294" y="1659"/>
                  </a:cubicBezTo>
                  <a:cubicBezTo>
                    <a:pt x="294" y="1698"/>
                    <a:pt x="294" y="1698"/>
                    <a:pt x="294" y="1698"/>
                  </a:cubicBezTo>
                  <a:cubicBezTo>
                    <a:pt x="294" y="1707"/>
                    <a:pt x="299" y="1715"/>
                    <a:pt x="307" y="1718"/>
                  </a:cubicBezTo>
                  <a:cubicBezTo>
                    <a:pt x="385" y="1753"/>
                    <a:pt x="459" y="1758"/>
                    <a:pt x="497" y="1758"/>
                  </a:cubicBezTo>
                  <a:cubicBezTo>
                    <a:pt x="509" y="1758"/>
                    <a:pt x="518" y="1758"/>
                    <a:pt x="522" y="1757"/>
                  </a:cubicBezTo>
                  <a:cubicBezTo>
                    <a:pt x="538" y="1758"/>
                    <a:pt x="634" y="1764"/>
                    <a:pt x="737" y="1718"/>
                  </a:cubicBezTo>
                  <a:cubicBezTo>
                    <a:pt x="745" y="1715"/>
                    <a:pt x="750" y="1707"/>
                    <a:pt x="750" y="1698"/>
                  </a:cubicBezTo>
                  <a:cubicBezTo>
                    <a:pt x="750" y="1659"/>
                    <a:pt x="750" y="1659"/>
                    <a:pt x="750" y="1659"/>
                  </a:cubicBezTo>
                  <a:cubicBezTo>
                    <a:pt x="804" y="1659"/>
                    <a:pt x="804" y="1659"/>
                    <a:pt x="804" y="1659"/>
                  </a:cubicBezTo>
                  <a:cubicBezTo>
                    <a:pt x="828" y="1659"/>
                    <a:pt x="847" y="1640"/>
                    <a:pt x="847" y="1616"/>
                  </a:cubicBezTo>
                  <a:cubicBezTo>
                    <a:pt x="847" y="1545"/>
                    <a:pt x="847" y="1545"/>
                    <a:pt x="847" y="1545"/>
                  </a:cubicBezTo>
                  <a:cubicBezTo>
                    <a:pt x="847" y="1537"/>
                    <a:pt x="845" y="1530"/>
                    <a:pt x="842" y="1524"/>
                  </a:cubicBezTo>
                  <a:cubicBezTo>
                    <a:pt x="845" y="1517"/>
                    <a:pt x="847" y="1510"/>
                    <a:pt x="847" y="1503"/>
                  </a:cubicBezTo>
                  <a:cubicBezTo>
                    <a:pt x="847" y="1435"/>
                    <a:pt x="847" y="1435"/>
                    <a:pt x="847" y="1435"/>
                  </a:cubicBezTo>
                  <a:cubicBezTo>
                    <a:pt x="847" y="1427"/>
                    <a:pt x="845" y="1420"/>
                    <a:pt x="842" y="1414"/>
                  </a:cubicBezTo>
                  <a:cubicBezTo>
                    <a:pt x="845" y="1408"/>
                    <a:pt x="847" y="1401"/>
                    <a:pt x="847" y="1393"/>
                  </a:cubicBezTo>
                  <a:cubicBezTo>
                    <a:pt x="847" y="1305"/>
                    <a:pt x="847" y="1305"/>
                    <a:pt x="847" y="1305"/>
                  </a:cubicBezTo>
                  <a:cubicBezTo>
                    <a:pt x="847" y="1281"/>
                    <a:pt x="828" y="1262"/>
                    <a:pt x="804" y="1262"/>
                  </a:cubicBezTo>
                  <a:cubicBezTo>
                    <a:pt x="781" y="1262"/>
                    <a:pt x="781" y="1262"/>
                    <a:pt x="781" y="1262"/>
                  </a:cubicBezTo>
                  <a:cubicBezTo>
                    <a:pt x="781" y="1130"/>
                    <a:pt x="781" y="1130"/>
                    <a:pt x="781" y="1130"/>
                  </a:cubicBezTo>
                  <a:cubicBezTo>
                    <a:pt x="781" y="991"/>
                    <a:pt x="914" y="865"/>
                    <a:pt x="915" y="864"/>
                  </a:cubicBezTo>
                  <a:cubicBezTo>
                    <a:pt x="917" y="862"/>
                    <a:pt x="917" y="862"/>
                    <a:pt x="917" y="862"/>
                  </a:cubicBezTo>
                  <a:cubicBezTo>
                    <a:pt x="999" y="768"/>
                    <a:pt x="1044" y="647"/>
                    <a:pt x="1044" y="521"/>
                  </a:cubicBezTo>
                  <a:cubicBezTo>
                    <a:pt x="1044" y="234"/>
                    <a:pt x="810" y="0"/>
                    <a:pt x="522" y="0"/>
                  </a:cubicBezTo>
                  <a:close/>
                  <a:moveTo>
                    <a:pt x="244" y="1502"/>
                  </a:moveTo>
                  <a:cubicBezTo>
                    <a:pt x="244" y="1436"/>
                    <a:pt x="244" y="1436"/>
                    <a:pt x="244" y="1436"/>
                  </a:cubicBezTo>
                  <a:cubicBezTo>
                    <a:pt x="803" y="1436"/>
                    <a:pt x="803" y="1436"/>
                    <a:pt x="803" y="1436"/>
                  </a:cubicBezTo>
                  <a:cubicBezTo>
                    <a:pt x="803" y="1502"/>
                    <a:pt x="803" y="1502"/>
                    <a:pt x="803" y="1502"/>
                  </a:cubicBezTo>
                  <a:lnTo>
                    <a:pt x="244" y="1502"/>
                  </a:lnTo>
                  <a:close/>
                  <a:moveTo>
                    <a:pt x="706" y="1684"/>
                  </a:moveTo>
                  <a:cubicBezTo>
                    <a:pt x="611" y="1721"/>
                    <a:pt x="525" y="1713"/>
                    <a:pt x="524" y="1713"/>
                  </a:cubicBezTo>
                  <a:cubicBezTo>
                    <a:pt x="523" y="1713"/>
                    <a:pt x="521" y="1713"/>
                    <a:pt x="520" y="1713"/>
                  </a:cubicBezTo>
                  <a:cubicBezTo>
                    <a:pt x="519" y="1713"/>
                    <a:pt x="433" y="1721"/>
                    <a:pt x="338" y="1684"/>
                  </a:cubicBezTo>
                  <a:cubicBezTo>
                    <a:pt x="338" y="1659"/>
                    <a:pt x="338" y="1659"/>
                    <a:pt x="338" y="1659"/>
                  </a:cubicBezTo>
                  <a:cubicBezTo>
                    <a:pt x="706" y="1659"/>
                    <a:pt x="706" y="1659"/>
                    <a:pt x="706" y="1659"/>
                  </a:cubicBezTo>
                  <a:lnTo>
                    <a:pt x="706" y="1684"/>
                  </a:lnTo>
                  <a:close/>
                  <a:moveTo>
                    <a:pt x="244" y="1615"/>
                  </a:moveTo>
                  <a:cubicBezTo>
                    <a:pt x="244" y="1546"/>
                    <a:pt x="244" y="1546"/>
                    <a:pt x="244" y="1546"/>
                  </a:cubicBezTo>
                  <a:cubicBezTo>
                    <a:pt x="803" y="1546"/>
                    <a:pt x="803" y="1546"/>
                    <a:pt x="803" y="1546"/>
                  </a:cubicBezTo>
                  <a:cubicBezTo>
                    <a:pt x="803" y="1615"/>
                    <a:pt x="803" y="1615"/>
                    <a:pt x="803" y="1615"/>
                  </a:cubicBezTo>
                  <a:lnTo>
                    <a:pt x="244" y="1615"/>
                  </a:lnTo>
                  <a:close/>
                  <a:moveTo>
                    <a:pt x="803" y="1392"/>
                  </a:moveTo>
                  <a:cubicBezTo>
                    <a:pt x="244" y="1392"/>
                    <a:pt x="244" y="1392"/>
                    <a:pt x="244" y="1392"/>
                  </a:cubicBezTo>
                  <a:cubicBezTo>
                    <a:pt x="244" y="1306"/>
                    <a:pt x="244" y="1306"/>
                    <a:pt x="244" y="1306"/>
                  </a:cubicBezTo>
                  <a:cubicBezTo>
                    <a:pt x="803" y="1306"/>
                    <a:pt x="803" y="1306"/>
                    <a:pt x="803" y="1306"/>
                  </a:cubicBezTo>
                  <a:lnTo>
                    <a:pt x="803" y="1392"/>
                  </a:lnTo>
                  <a:close/>
                  <a:moveTo>
                    <a:pt x="884" y="833"/>
                  </a:moveTo>
                  <a:cubicBezTo>
                    <a:pt x="870" y="846"/>
                    <a:pt x="737" y="976"/>
                    <a:pt x="737" y="1130"/>
                  </a:cubicBezTo>
                  <a:cubicBezTo>
                    <a:pt x="737" y="1262"/>
                    <a:pt x="737" y="1262"/>
                    <a:pt x="737" y="1262"/>
                  </a:cubicBezTo>
                  <a:cubicBezTo>
                    <a:pt x="307" y="1262"/>
                    <a:pt x="307" y="1262"/>
                    <a:pt x="307" y="1262"/>
                  </a:cubicBezTo>
                  <a:cubicBezTo>
                    <a:pt x="307" y="1130"/>
                    <a:pt x="307" y="1130"/>
                    <a:pt x="307" y="1130"/>
                  </a:cubicBezTo>
                  <a:cubicBezTo>
                    <a:pt x="307" y="976"/>
                    <a:pt x="174" y="846"/>
                    <a:pt x="160" y="833"/>
                  </a:cubicBezTo>
                  <a:cubicBezTo>
                    <a:pt x="85" y="746"/>
                    <a:pt x="44" y="636"/>
                    <a:pt x="44" y="521"/>
                  </a:cubicBezTo>
                  <a:cubicBezTo>
                    <a:pt x="44" y="258"/>
                    <a:pt x="259" y="44"/>
                    <a:pt x="522" y="44"/>
                  </a:cubicBezTo>
                  <a:cubicBezTo>
                    <a:pt x="785" y="44"/>
                    <a:pt x="1000" y="258"/>
                    <a:pt x="1000" y="521"/>
                  </a:cubicBezTo>
                  <a:cubicBezTo>
                    <a:pt x="1000" y="636"/>
                    <a:pt x="959" y="746"/>
                    <a:pt x="884" y="833"/>
                  </a:cubicBezTo>
                  <a:close/>
                </a:path>
              </a:pathLst>
            </a:custGeom>
            <a:solidFill>
              <a:srgbClr val="03522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575757"/>
                </a:solidFill>
                <a:effectLst/>
                <a:uLnTx/>
                <a:uFillTx/>
                <a:latin typeface="Trebuchet MS"/>
              </a:endParaRPr>
            </a:p>
          </p:txBody>
        </p:sp>
        <p:sp>
          <p:nvSpPr>
            <p:cNvPr id="24" name="Freeform 16">
              <a:extLst>
                <a:ext uri="{FF2B5EF4-FFF2-40B4-BE49-F238E27FC236}">
                  <a16:creationId xmlns:a16="http://schemas.microsoft.com/office/drawing/2014/main" id="{61BAC7CD-22C5-F3E1-74EB-EFE0297F2448}"/>
                </a:ext>
              </a:extLst>
            </p:cNvPr>
            <p:cNvSpPr>
              <a:spLocks/>
            </p:cNvSpPr>
            <p:nvPr/>
          </p:nvSpPr>
          <p:spPr bwMode="auto">
            <a:xfrm>
              <a:off x="3021" y="660"/>
              <a:ext cx="1638" cy="2130"/>
            </a:xfrm>
            <a:custGeom>
              <a:avLst/>
              <a:gdLst>
                <a:gd name="T0" fmla="*/ 437 w 874"/>
                <a:gd name="T1" fmla="*/ 0 h 1136"/>
                <a:gd name="T2" fmla="*/ 0 w 874"/>
                <a:gd name="T3" fmla="*/ 436 h 1136"/>
                <a:gd name="T4" fmla="*/ 105 w 874"/>
                <a:gd name="T5" fmla="*/ 720 h 1136"/>
                <a:gd name="T6" fmla="*/ 263 w 874"/>
                <a:gd name="T7" fmla="*/ 1045 h 1136"/>
                <a:gd name="T8" fmla="*/ 263 w 874"/>
                <a:gd name="T9" fmla="*/ 1136 h 1136"/>
                <a:gd name="T10" fmla="*/ 415 w 874"/>
                <a:gd name="T11" fmla="*/ 1136 h 1136"/>
                <a:gd name="T12" fmla="*/ 415 w 874"/>
                <a:gd name="T13" fmla="*/ 897 h 1136"/>
                <a:gd name="T14" fmla="*/ 421 w 874"/>
                <a:gd name="T15" fmla="*/ 882 h 1136"/>
                <a:gd name="T16" fmla="*/ 525 w 874"/>
                <a:gd name="T17" fmla="*/ 771 h 1136"/>
                <a:gd name="T18" fmla="*/ 370 w 874"/>
                <a:gd name="T19" fmla="*/ 771 h 1136"/>
                <a:gd name="T20" fmla="*/ 349 w 874"/>
                <a:gd name="T21" fmla="*/ 758 h 1136"/>
                <a:gd name="T22" fmla="*/ 354 w 874"/>
                <a:gd name="T23" fmla="*/ 734 h 1136"/>
                <a:gd name="T24" fmla="*/ 481 w 874"/>
                <a:gd name="T25" fmla="*/ 601 h 1136"/>
                <a:gd name="T26" fmla="*/ 354 w 874"/>
                <a:gd name="T27" fmla="*/ 601 h 1136"/>
                <a:gd name="T28" fmla="*/ 334 w 874"/>
                <a:gd name="T29" fmla="*/ 588 h 1136"/>
                <a:gd name="T30" fmla="*/ 338 w 874"/>
                <a:gd name="T31" fmla="*/ 564 h 1136"/>
                <a:gd name="T32" fmla="*/ 508 w 874"/>
                <a:gd name="T33" fmla="*/ 368 h 1136"/>
                <a:gd name="T34" fmla="*/ 539 w 874"/>
                <a:gd name="T35" fmla="*/ 366 h 1136"/>
                <a:gd name="T36" fmla="*/ 541 w 874"/>
                <a:gd name="T37" fmla="*/ 397 h 1136"/>
                <a:gd name="T38" fmla="*/ 403 w 874"/>
                <a:gd name="T39" fmla="*/ 557 h 1136"/>
                <a:gd name="T40" fmla="*/ 532 w 874"/>
                <a:gd name="T41" fmla="*/ 557 h 1136"/>
                <a:gd name="T42" fmla="*/ 553 w 874"/>
                <a:gd name="T43" fmla="*/ 570 h 1136"/>
                <a:gd name="T44" fmla="*/ 548 w 874"/>
                <a:gd name="T45" fmla="*/ 594 h 1136"/>
                <a:gd name="T46" fmla="*/ 421 w 874"/>
                <a:gd name="T47" fmla="*/ 727 h 1136"/>
                <a:gd name="T48" fmla="*/ 576 w 874"/>
                <a:gd name="T49" fmla="*/ 727 h 1136"/>
                <a:gd name="T50" fmla="*/ 596 w 874"/>
                <a:gd name="T51" fmla="*/ 740 h 1136"/>
                <a:gd name="T52" fmla="*/ 592 w 874"/>
                <a:gd name="T53" fmla="*/ 764 h 1136"/>
                <a:gd name="T54" fmla="*/ 459 w 874"/>
                <a:gd name="T55" fmla="*/ 905 h 1136"/>
                <a:gd name="T56" fmla="*/ 459 w 874"/>
                <a:gd name="T57" fmla="*/ 1136 h 1136"/>
                <a:gd name="T58" fmla="*/ 611 w 874"/>
                <a:gd name="T59" fmla="*/ 1136 h 1136"/>
                <a:gd name="T60" fmla="*/ 611 w 874"/>
                <a:gd name="T61" fmla="*/ 1045 h 1136"/>
                <a:gd name="T62" fmla="*/ 769 w 874"/>
                <a:gd name="T63" fmla="*/ 720 h 1136"/>
                <a:gd name="T64" fmla="*/ 874 w 874"/>
                <a:gd name="T65" fmla="*/ 436 h 1136"/>
                <a:gd name="T66" fmla="*/ 437 w 874"/>
                <a:gd name="T67" fmla="*/ 0 h 1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74" h="1136">
                  <a:moveTo>
                    <a:pt x="437" y="0"/>
                  </a:moveTo>
                  <a:cubicBezTo>
                    <a:pt x="196" y="0"/>
                    <a:pt x="0" y="195"/>
                    <a:pt x="0" y="436"/>
                  </a:cubicBezTo>
                  <a:cubicBezTo>
                    <a:pt x="0" y="540"/>
                    <a:pt x="37" y="641"/>
                    <a:pt x="105" y="720"/>
                  </a:cubicBezTo>
                  <a:cubicBezTo>
                    <a:pt x="127" y="741"/>
                    <a:pt x="263" y="880"/>
                    <a:pt x="263" y="1045"/>
                  </a:cubicBezTo>
                  <a:cubicBezTo>
                    <a:pt x="263" y="1136"/>
                    <a:pt x="263" y="1136"/>
                    <a:pt x="263" y="1136"/>
                  </a:cubicBezTo>
                  <a:cubicBezTo>
                    <a:pt x="415" y="1136"/>
                    <a:pt x="415" y="1136"/>
                    <a:pt x="415" y="1136"/>
                  </a:cubicBezTo>
                  <a:cubicBezTo>
                    <a:pt x="415" y="897"/>
                    <a:pt x="415" y="897"/>
                    <a:pt x="415" y="897"/>
                  </a:cubicBezTo>
                  <a:cubicBezTo>
                    <a:pt x="415" y="891"/>
                    <a:pt x="417" y="886"/>
                    <a:pt x="421" y="882"/>
                  </a:cubicBezTo>
                  <a:cubicBezTo>
                    <a:pt x="525" y="771"/>
                    <a:pt x="525" y="771"/>
                    <a:pt x="525" y="771"/>
                  </a:cubicBezTo>
                  <a:cubicBezTo>
                    <a:pt x="370" y="771"/>
                    <a:pt x="370" y="771"/>
                    <a:pt x="370" y="771"/>
                  </a:cubicBezTo>
                  <a:cubicBezTo>
                    <a:pt x="361" y="771"/>
                    <a:pt x="353" y="766"/>
                    <a:pt x="349" y="758"/>
                  </a:cubicBezTo>
                  <a:cubicBezTo>
                    <a:pt x="346" y="750"/>
                    <a:pt x="348" y="740"/>
                    <a:pt x="354" y="734"/>
                  </a:cubicBezTo>
                  <a:cubicBezTo>
                    <a:pt x="481" y="601"/>
                    <a:pt x="481" y="601"/>
                    <a:pt x="481" y="601"/>
                  </a:cubicBezTo>
                  <a:cubicBezTo>
                    <a:pt x="354" y="601"/>
                    <a:pt x="354" y="601"/>
                    <a:pt x="354" y="601"/>
                  </a:cubicBezTo>
                  <a:cubicBezTo>
                    <a:pt x="346" y="601"/>
                    <a:pt x="338" y="596"/>
                    <a:pt x="334" y="588"/>
                  </a:cubicBezTo>
                  <a:cubicBezTo>
                    <a:pt x="331" y="580"/>
                    <a:pt x="332" y="571"/>
                    <a:pt x="338" y="564"/>
                  </a:cubicBezTo>
                  <a:cubicBezTo>
                    <a:pt x="508" y="368"/>
                    <a:pt x="508" y="368"/>
                    <a:pt x="508" y="368"/>
                  </a:cubicBezTo>
                  <a:cubicBezTo>
                    <a:pt x="516" y="359"/>
                    <a:pt x="530" y="358"/>
                    <a:pt x="539" y="366"/>
                  </a:cubicBezTo>
                  <a:cubicBezTo>
                    <a:pt x="548" y="374"/>
                    <a:pt x="549" y="388"/>
                    <a:pt x="541" y="397"/>
                  </a:cubicBezTo>
                  <a:cubicBezTo>
                    <a:pt x="403" y="557"/>
                    <a:pt x="403" y="557"/>
                    <a:pt x="403" y="557"/>
                  </a:cubicBezTo>
                  <a:cubicBezTo>
                    <a:pt x="532" y="557"/>
                    <a:pt x="532" y="557"/>
                    <a:pt x="532" y="557"/>
                  </a:cubicBezTo>
                  <a:cubicBezTo>
                    <a:pt x="541" y="557"/>
                    <a:pt x="549" y="562"/>
                    <a:pt x="553" y="570"/>
                  </a:cubicBezTo>
                  <a:cubicBezTo>
                    <a:pt x="556" y="578"/>
                    <a:pt x="554" y="587"/>
                    <a:pt x="548" y="594"/>
                  </a:cubicBezTo>
                  <a:cubicBezTo>
                    <a:pt x="421" y="727"/>
                    <a:pt x="421" y="727"/>
                    <a:pt x="421" y="727"/>
                  </a:cubicBezTo>
                  <a:cubicBezTo>
                    <a:pt x="576" y="727"/>
                    <a:pt x="576" y="727"/>
                    <a:pt x="576" y="727"/>
                  </a:cubicBezTo>
                  <a:cubicBezTo>
                    <a:pt x="584" y="727"/>
                    <a:pt x="592" y="732"/>
                    <a:pt x="596" y="740"/>
                  </a:cubicBezTo>
                  <a:cubicBezTo>
                    <a:pt x="599" y="748"/>
                    <a:pt x="598" y="758"/>
                    <a:pt x="592" y="764"/>
                  </a:cubicBezTo>
                  <a:cubicBezTo>
                    <a:pt x="459" y="905"/>
                    <a:pt x="459" y="905"/>
                    <a:pt x="459" y="905"/>
                  </a:cubicBezTo>
                  <a:cubicBezTo>
                    <a:pt x="459" y="1136"/>
                    <a:pt x="459" y="1136"/>
                    <a:pt x="459" y="1136"/>
                  </a:cubicBezTo>
                  <a:cubicBezTo>
                    <a:pt x="611" y="1136"/>
                    <a:pt x="611" y="1136"/>
                    <a:pt x="611" y="1136"/>
                  </a:cubicBezTo>
                  <a:cubicBezTo>
                    <a:pt x="611" y="1045"/>
                    <a:pt x="611" y="1045"/>
                    <a:pt x="611" y="1045"/>
                  </a:cubicBezTo>
                  <a:cubicBezTo>
                    <a:pt x="611" y="880"/>
                    <a:pt x="747" y="741"/>
                    <a:pt x="769" y="720"/>
                  </a:cubicBezTo>
                  <a:cubicBezTo>
                    <a:pt x="837" y="641"/>
                    <a:pt x="874" y="540"/>
                    <a:pt x="874" y="436"/>
                  </a:cubicBezTo>
                  <a:cubicBezTo>
                    <a:pt x="874" y="195"/>
                    <a:pt x="678" y="0"/>
                    <a:pt x="437" y="0"/>
                  </a:cubicBezTo>
                  <a:close/>
                </a:path>
              </a:pathLst>
            </a:custGeom>
            <a:solidFill>
              <a:srgbClr val="29BA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575757"/>
                </a:solidFill>
                <a:effectLst/>
                <a:uLnTx/>
                <a:uFillTx/>
                <a:latin typeface="Trebuchet MS"/>
              </a:endParaRPr>
            </a:p>
          </p:txBody>
        </p:sp>
      </p:grpSp>
      <p:sp>
        <p:nvSpPr>
          <p:cNvPr id="32" name="ee4pContent2">
            <a:extLst>
              <a:ext uri="{FF2B5EF4-FFF2-40B4-BE49-F238E27FC236}">
                <a16:creationId xmlns:a16="http://schemas.microsoft.com/office/drawing/2014/main" id="{06674048-AA5C-CF6C-B60C-27ED52818FF0}"/>
              </a:ext>
            </a:extLst>
          </p:cNvPr>
          <p:cNvSpPr txBox="1"/>
          <p:nvPr/>
        </p:nvSpPr>
        <p:spPr>
          <a:xfrm>
            <a:off x="8499447" y="3716752"/>
            <a:ext cx="3125941" cy="1709533"/>
          </a:xfrm>
          <a:prstGeom prst="rect">
            <a:avLst/>
          </a:prstGeom>
          <a:ln cap="rnd">
            <a:noFill/>
          </a:ln>
        </p:spPr>
        <p:txBody>
          <a:bodyPr vert="horz" wrap="square" lIns="0" tIns="0" rIns="0" bIns="0" rtlCol="0">
            <a:noAutofit/>
          </a:bodyPr>
          <a:lstStyle>
            <a:defPPr>
              <a:defRPr lang="en-US"/>
            </a:defPPr>
            <a:lvl1pPr lvl="0" indent="0">
              <a:lnSpc>
                <a:spcPct val="100000"/>
              </a:lnSpc>
              <a:spcBef>
                <a:spcPts val="0"/>
              </a:spcBef>
              <a:spcAft>
                <a:spcPts val="0"/>
              </a:spcAft>
              <a:buClr>
                <a:srgbClr val="000000"/>
              </a:buClr>
              <a:buSzPct val="100000"/>
              <a:buFont typeface="Trebuchet MS" panose="020B0603020202020204" pitchFamily="34" charset="0"/>
              <a:buNone/>
              <a:defRPr sz="2000">
                <a:solidFill>
                  <a:srgbClr val="575757"/>
                </a:solidFill>
                <a:latin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2400">
                <a:solidFill>
                  <a:schemeClr val="tx2"/>
                </a:solidFill>
                <a:latin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2400" b="1">
                <a:latin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2400">
                <a:latin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5400" baseline="0">
                <a:latin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6600">
                <a:solidFill>
                  <a:schemeClr val="tx2"/>
                </a:solidFill>
                <a:latin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4400">
                <a:solidFill>
                  <a:schemeClr val="tx2"/>
                </a:solidFill>
                <a:latin typeface="Trebuchet MS" panose="020B0603020202020204" pitchFamily="34" charset="0"/>
              </a:defRPr>
            </a:lvl9pPr>
          </a:lstStyle>
          <a:p>
            <a:pPr marL="0" marR="0" lvl="0" indent="0" algn="ctr" defTabSz="914400" rtl="0" eaLnBrk="1" fontAlgn="auto" latinLnBrk="0" hangingPunct="1">
              <a:lnSpc>
                <a:spcPct val="90000"/>
              </a:lnSpc>
              <a:spcBef>
                <a:spcPts val="0"/>
              </a:spcBef>
              <a:spcAft>
                <a:spcPts val="1200"/>
              </a:spcAft>
              <a:buClr>
                <a:srgbClr val="000000"/>
              </a:buClr>
              <a:buSzPct val="100000"/>
              <a:buFont typeface="Trebuchet MS" panose="020B0603020202020204" pitchFamily="34" charset="0"/>
              <a:buNone/>
              <a:tabLst/>
              <a:defRPr/>
            </a:pPr>
            <a:r>
              <a:rPr kumimoji="0" lang="en-AU" sz="2000" b="0" i="0" u="none" strike="noStrike" kern="1200" cap="none" spc="0" normalizeH="0" baseline="0" noProof="0" dirty="0">
                <a:ln>
                  <a:noFill/>
                </a:ln>
                <a:solidFill>
                  <a:srgbClr val="575757"/>
                </a:solidFill>
                <a:effectLst/>
                <a:uLnTx/>
                <a:uFillTx/>
                <a:latin typeface="Trebuchet MS" panose="020B0603020202020204" pitchFamily="34" charset="0"/>
                <a:ea typeface="+mn-ea"/>
                <a:cs typeface="+mn-cs"/>
              </a:rPr>
              <a:t>What message should we deliver to the targeted audience?</a:t>
            </a:r>
          </a:p>
        </p:txBody>
      </p:sp>
      <p:sp>
        <p:nvSpPr>
          <p:cNvPr id="36" name="ee4pHeader1">
            <a:extLst>
              <a:ext uri="{FF2B5EF4-FFF2-40B4-BE49-F238E27FC236}">
                <a16:creationId xmlns:a16="http://schemas.microsoft.com/office/drawing/2014/main" id="{CB6FC408-2BCA-84EA-0F8E-032C09647B5D}"/>
              </a:ext>
            </a:extLst>
          </p:cNvPr>
          <p:cNvSpPr txBox="1"/>
          <p:nvPr/>
        </p:nvSpPr>
        <p:spPr>
          <a:xfrm>
            <a:off x="780147" y="4697215"/>
            <a:ext cx="3123862" cy="759600"/>
          </a:xfrm>
          <a:prstGeom prst="rect">
            <a:avLst/>
          </a:prstGeom>
          <a:noFill/>
          <a:ln cap="rnd">
            <a:noFill/>
          </a:ln>
        </p:spPr>
        <p:txBody>
          <a:bodyPr wrap="square" lIns="0" tIns="0" rIns="0" bIns="0" rtlCol="0" anchor="b" anchorCtr="0">
            <a:noAutofit/>
          </a:bodyPr>
          <a:lstStyle/>
          <a:p>
            <a:pPr marL="0" marR="0" lvl="3" indent="0" algn="ctr" defTabSz="914400" rtl="0" eaLnBrk="1" fontAlgn="auto" latinLnBrk="0" hangingPunct="1">
              <a:lnSpc>
                <a:spcPct val="100000"/>
              </a:lnSpc>
              <a:spcBef>
                <a:spcPts val="0"/>
              </a:spcBef>
              <a:spcAft>
                <a:spcPts val="0"/>
              </a:spcAft>
              <a:buClrTx/>
              <a:buSzTx/>
              <a:buFontTx/>
              <a:buNone/>
              <a:tabLst/>
              <a:defRPr/>
            </a:pPr>
            <a:r>
              <a:rPr kumimoji="0" lang="en-AU" sz="2400" b="0" i="0" u="none" strike="noStrike" kern="1200" cap="none" spc="0" normalizeH="0" baseline="0" noProof="0" dirty="0">
                <a:ln>
                  <a:noFill/>
                </a:ln>
                <a:solidFill>
                  <a:srgbClr val="29BA74"/>
                </a:solidFill>
                <a:effectLst/>
                <a:uLnTx/>
                <a:uFillTx/>
                <a:latin typeface="Trebuchet MS"/>
                <a:ea typeface="+mn-ea"/>
                <a:cs typeface="+mn-cs"/>
              </a:rPr>
              <a:t>Other Considerations</a:t>
            </a:r>
          </a:p>
        </p:txBody>
      </p:sp>
      <p:sp>
        <p:nvSpPr>
          <p:cNvPr id="39" name="ee4pHeader2">
            <a:extLst>
              <a:ext uri="{FF2B5EF4-FFF2-40B4-BE49-F238E27FC236}">
                <a16:creationId xmlns:a16="http://schemas.microsoft.com/office/drawing/2014/main" id="{67C39E41-DC58-8C0E-9A12-2AE122213094}"/>
              </a:ext>
            </a:extLst>
          </p:cNvPr>
          <p:cNvSpPr txBox="1"/>
          <p:nvPr/>
        </p:nvSpPr>
        <p:spPr>
          <a:xfrm>
            <a:off x="807655" y="3972347"/>
            <a:ext cx="3125941" cy="759600"/>
          </a:xfrm>
          <a:prstGeom prst="rect">
            <a:avLst/>
          </a:prstGeom>
          <a:noFill/>
          <a:ln cap="rnd">
            <a:noFill/>
          </a:ln>
        </p:spPr>
        <p:txBody>
          <a:bodyPr wrap="square" lIns="0" tIns="0" rIns="0" bIns="0" rtlCol="0" anchor="b" anchorCtr="0">
            <a:noAutofit/>
          </a:bodyPr>
          <a:lstStyle/>
          <a:p>
            <a:pPr marL="0" marR="0" lvl="3" indent="0" algn="ctr" defTabSz="914400" rtl="0" eaLnBrk="1" fontAlgn="auto" latinLnBrk="0" hangingPunct="1">
              <a:lnSpc>
                <a:spcPct val="100000"/>
              </a:lnSpc>
              <a:spcBef>
                <a:spcPts val="0"/>
              </a:spcBef>
              <a:spcAft>
                <a:spcPts val="0"/>
              </a:spcAft>
              <a:buClrTx/>
              <a:buSzTx/>
              <a:buFontTx/>
              <a:buNone/>
              <a:tabLst/>
              <a:defRPr/>
            </a:pPr>
            <a:endParaRPr kumimoji="0" lang="en-AU" sz="2400" b="0" i="0" u="none" strike="noStrike" kern="1200" cap="none" spc="0" normalizeH="0" baseline="0" noProof="0" dirty="0">
              <a:ln>
                <a:noFill/>
              </a:ln>
              <a:solidFill>
                <a:srgbClr val="29BA74"/>
              </a:solidFill>
              <a:effectLst/>
              <a:uLnTx/>
              <a:uFillTx/>
              <a:latin typeface="Trebuchet MS"/>
              <a:ea typeface="+mn-ea"/>
              <a:cs typeface="+mn-cs"/>
            </a:endParaRPr>
          </a:p>
        </p:txBody>
      </p:sp>
      <p:sp>
        <p:nvSpPr>
          <p:cNvPr id="46" name="ee4pContent2">
            <a:extLst>
              <a:ext uri="{FF2B5EF4-FFF2-40B4-BE49-F238E27FC236}">
                <a16:creationId xmlns:a16="http://schemas.microsoft.com/office/drawing/2014/main" id="{102B6C1B-9D35-C265-C6A3-56860C3B3C27}"/>
              </a:ext>
            </a:extLst>
          </p:cNvPr>
          <p:cNvSpPr txBox="1"/>
          <p:nvPr/>
        </p:nvSpPr>
        <p:spPr>
          <a:xfrm>
            <a:off x="1266148" y="5686748"/>
            <a:ext cx="8928849" cy="1709533"/>
          </a:xfrm>
          <a:prstGeom prst="rect">
            <a:avLst/>
          </a:prstGeom>
          <a:ln cap="rnd">
            <a:noFill/>
          </a:ln>
        </p:spPr>
        <p:txBody>
          <a:bodyPr vert="horz" wrap="square" lIns="0" tIns="0" rIns="0" bIns="0" rtlCol="0">
            <a:noAutofit/>
          </a:bodyPr>
          <a:lstStyle>
            <a:defPPr>
              <a:defRPr lang="en-US"/>
            </a:defPPr>
            <a:lvl1pPr lvl="0" indent="0">
              <a:lnSpc>
                <a:spcPct val="100000"/>
              </a:lnSpc>
              <a:spcBef>
                <a:spcPts val="0"/>
              </a:spcBef>
              <a:spcAft>
                <a:spcPts val="0"/>
              </a:spcAft>
              <a:buClr>
                <a:srgbClr val="000000"/>
              </a:buClr>
              <a:buSzPct val="100000"/>
              <a:buFont typeface="Trebuchet MS" panose="020B0603020202020204" pitchFamily="34" charset="0"/>
              <a:buNone/>
              <a:defRPr sz="2000">
                <a:solidFill>
                  <a:srgbClr val="575757"/>
                </a:solidFill>
                <a:latin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2400">
                <a:solidFill>
                  <a:schemeClr val="tx2"/>
                </a:solidFill>
                <a:latin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2400" b="1">
                <a:latin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2400">
                <a:latin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5400" baseline="0">
                <a:latin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6600">
                <a:solidFill>
                  <a:schemeClr val="tx2"/>
                </a:solidFill>
                <a:latin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4400">
                <a:solidFill>
                  <a:schemeClr val="tx2"/>
                </a:solidFill>
                <a:latin typeface="Trebuchet MS" panose="020B0603020202020204" pitchFamily="34" charset="0"/>
              </a:defRPr>
            </a:lvl9pPr>
          </a:lstStyle>
          <a:p>
            <a:pPr marL="342900" marR="0" lvl="0" indent="-342900" defTabSz="914400" rtl="0" eaLnBrk="1" fontAlgn="auto" latinLnBrk="0" hangingPunct="1">
              <a:lnSpc>
                <a:spcPct val="90000"/>
              </a:lnSpc>
              <a:spcBef>
                <a:spcPts val="0"/>
              </a:spcBef>
              <a:spcAft>
                <a:spcPts val="1200"/>
              </a:spcAft>
              <a:buClr>
                <a:srgbClr val="000000"/>
              </a:buClr>
              <a:buSzPct val="100000"/>
              <a:buFont typeface="Arial" panose="020B0604020202020204" pitchFamily="34" charset="0"/>
              <a:buChar char="•"/>
              <a:tabLst/>
              <a:defRPr/>
            </a:pPr>
            <a:r>
              <a:rPr kumimoji="0" lang="en-AU" sz="2000" b="0" i="0" u="none" strike="noStrike" kern="1200" cap="none" spc="0" normalizeH="0" baseline="0" noProof="0" dirty="0">
                <a:ln>
                  <a:noFill/>
                </a:ln>
                <a:solidFill>
                  <a:srgbClr val="575757"/>
                </a:solidFill>
                <a:effectLst/>
                <a:uLnTx/>
                <a:uFillTx/>
                <a:latin typeface="Trebuchet MS" panose="020B0603020202020204" pitchFamily="34" charset="0"/>
                <a:ea typeface="+mn-ea"/>
                <a:cs typeface="+mn-cs"/>
              </a:rPr>
              <a:t>Identifying customer personas with clustering model</a:t>
            </a:r>
          </a:p>
          <a:p>
            <a:pPr marL="342900" marR="0" lvl="0" indent="-342900" defTabSz="914400" rtl="0" eaLnBrk="1" fontAlgn="auto" latinLnBrk="0" hangingPunct="1">
              <a:lnSpc>
                <a:spcPct val="90000"/>
              </a:lnSpc>
              <a:spcBef>
                <a:spcPts val="0"/>
              </a:spcBef>
              <a:spcAft>
                <a:spcPts val="1200"/>
              </a:spcAft>
              <a:buClr>
                <a:srgbClr val="000000"/>
              </a:buClr>
              <a:buSzPct val="100000"/>
              <a:buFont typeface="Arial" panose="020B0604020202020204" pitchFamily="34" charset="0"/>
              <a:buChar char="•"/>
              <a:tabLst/>
              <a:defRPr/>
            </a:pPr>
            <a:r>
              <a:rPr lang="en-AU" dirty="0"/>
              <a:t>Looking forward…</a:t>
            </a:r>
            <a:endParaRPr kumimoji="0" lang="en-AU" sz="2000" b="0" i="0" u="none" strike="noStrike" kern="1200" cap="none" spc="0" normalizeH="0" baseline="0" noProof="0" dirty="0">
              <a:ln>
                <a:noFill/>
              </a:ln>
              <a:solidFill>
                <a:srgbClr val="575757"/>
              </a:solidFill>
              <a:effectLst/>
              <a:uLnTx/>
              <a:uFillTx/>
              <a:latin typeface="Trebuchet MS" panose="020B0603020202020204" pitchFamily="34" charset="0"/>
              <a:ea typeface="+mn-ea"/>
              <a:cs typeface="+mn-cs"/>
            </a:endParaRPr>
          </a:p>
        </p:txBody>
      </p:sp>
    </p:spTree>
    <p:custDataLst>
      <p:tags r:id="rId1"/>
    </p:custDataLst>
    <p:extLst>
      <p:ext uri="{BB962C8B-B14F-4D97-AF65-F5344CB8AC3E}">
        <p14:creationId xmlns:p14="http://schemas.microsoft.com/office/powerpoint/2010/main" val="1151319172"/>
      </p:ext>
    </p:extLst>
  </p:cSld>
  <p:clrMapOvr>
    <a:masterClrMapping/>
  </p:clrMapOvr>
  <mc:AlternateContent xmlns:mc="http://schemas.openxmlformats.org/markup-compatibility/2006" xmlns:p14="http://schemas.microsoft.com/office/powerpoint/2010/main">
    <mc:Choice Requires="p14">
      <p:transition p14:dur="250"/>
    </mc:Choice>
    <mc:Fallback xmlns="">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Title 2"/>
          <p:cNvSpPr>
            <a:spLocks noGrp="1"/>
          </p:cNvSpPr>
          <p:nvPr>
            <p:ph type="title"/>
          </p:nvPr>
        </p:nvSpPr>
        <p:spPr>
          <a:xfrm>
            <a:off x="471610" y="183109"/>
            <a:ext cx="3127881" cy="1495794"/>
          </a:xfrm>
        </p:spPr>
        <p:txBody>
          <a:bodyPr/>
          <a:lstStyle/>
          <a:p>
            <a:r>
              <a:rPr lang="en-US" dirty="0"/>
              <a:t>Data Cleaning</a:t>
            </a:r>
          </a:p>
        </p:txBody>
      </p:sp>
      <p:sp>
        <p:nvSpPr>
          <p:cNvPr id="6" name="TextBox 5"/>
          <p:cNvSpPr txBox="1"/>
          <p:nvPr/>
        </p:nvSpPr>
        <p:spPr>
          <a:xfrm>
            <a:off x="4516432" y="1381637"/>
            <a:ext cx="5426557" cy="594532"/>
          </a:xfrm>
          <a:prstGeom prst="rect">
            <a:avLst/>
          </a:prstGeom>
          <a:noFill/>
        </p:spPr>
        <p:txBody>
          <a:bodyPr wrap="square" lIns="0" tIns="0" rIns="144000" bIns="0" rtlCol="0" anchor="ctr">
            <a:noAutofit/>
          </a:bodyPr>
          <a:lstStyle/>
          <a:p>
            <a:pPr>
              <a:lnSpc>
                <a:spcPct val="90000"/>
              </a:lnSpc>
              <a:spcAft>
                <a:spcPts val="600"/>
              </a:spcAft>
            </a:pPr>
            <a:r>
              <a:rPr lang="en-US" sz="1600" i="1" dirty="0">
                <a:solidFill>
                  <a:schemeClr val="bg2">
                    <a:lumMod val="50000"/>
                  </a:schemeClr>
                </a:solidFill>
              </a:rPr>
              <a:t>Overall Distribution of Multiple Variables</a:t>
            </a:r>
          </a:p>
        </p:txBody>
      </p:sp>
      <p:sp>
        <p:nvSpPr>
          <p:cNvPr id="5" name="TextBox 4">
            <a:extLst>
              <a:ext uri="{FF2B5EF4-FFF2-40B4-BE49-F238E27FC236}">
                <a16:creationId xmlns:a16="http://schemas.microsoft.com/office/drawing/2014/main" id="{C5B896CC-2C3F-44F9-8F47-2A7AFBFDDACC}"/>
              </a:ext>
            </a:extLst>
          </p:cNvPr>
          <p:cNvSpPr txBox="1"/>
          <p:nvPr/>
        </p:nvSpPr>
        <p:spPr>
          <a:xfrm>
            <a:off x="396638" y="1819003"/>
            <a:ext cx="3563892" cy="3365473"/>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marR="0" lvl="0" algn="l" defTabSz="914400" rtl="0" eaLnBrk="1" fontAlgn="auto" latinLnBrk="0" hangingPunct="1">
              <a:lnSpc>
                <a:spcPct val="150000"/>
              </a:lnSpc>
              <a:spcBef>
                <a:spcPts val="0"/>
              </a:spcBef>
              <a:spcAft>
                <a:spcPts val="0"/>
              </a:spcAft>
              <a:buClrTx/>
              <a:buSzTx/>
              <a:tabLst/>
              <a:defRPr/>
            </a:pPr>
            <a:r>
              <a:rPr lang="en-US">
                <a:solidFill>
                  <a:schemeClr val="bg1"/>
                </a:solidFill>
              </a:rPr>
              <a:t>1. Checking </a:t>
            </a:r>
            <a:r>
              <a:rPr lang="en-US" dirty="0">
                <a:solidFill>
                  <a:schemeClr val="bg1"/>
                </a:solidFill>
              </a:rPr>
              <a:t>data type</a:t>
            </a:r>
            <a:endParaRPr lang="en-US" sz="1600" dirty="0">
              <a:solidFill>
                <a:schemeClr val="bg1"/>
              </a:solidFill>
              <a:latin typeface="Trebuchet MS"/>
            </a:endParaRPr>
          </a:p>
          <a:p>
            <a:pPr marR="0" lvl="0" algn="l" defTabSz="914400" rtl="0" eaLnBrk="1" fontAlgn="auto" latinLnBrk="0" hangingPunct="1">
              <a:lnSpc>
                <a:spcPct val="150000"/>
              </a:lnSpc>
              <a:spcBef>
                <a:spcPts val="0"/>
              </a:spcBef>
              <a:spcAft>
                <a:spcPts val="0"/>
              </a:spcAft>
              <a:buClrTx/>
              <a:buSzTx/>
              <a:tabLst/>
              <a:defRPr/>
            </a:pPr>
            <a:r>
              <a:rPr lang="en-US" dirty="0">
                <a:solidFill>
                  <a:schemeClr val="bg1"/>
                </a:solidFill>
              </a:rPr>
              <a:t>2. Checking data range of numerical variables</a:t>
            </a:r>
          </a:p>
          <a:p>
            <a:pPr marR="0" lvl="0" algn="l" defTabSz="914400" rtl="0" eaLnBrk="1" fontAlgn="auto" latinLnBrk="0" hangingPunct="1">
              <a:lnSpc>
                <a:spcPct val="150000"/>
              </a:lnSpc>
              <a:spcBef>
                <a:spcPts val="0"/>
              </a:spcBef>
              <a:spcAft>
                <a:spcPts val="0"/>
              </a:spcAft>
              <a:buClrTx/>
              <a:buSzTx/>
              <a:tabLst/>
              <a:defRPr/>
            </a:pPr>
            <a:r>
              <a:rPr lang="en-US" dirty="0">
                <a:solidFill>
                  <a:schemeClr val="bg1"/>
                </a:solidFill>
              </a:rPr>
              <a:t>3. Checking the consistencies of categorical variables</a:t>
            </a:r>
          </a:p>
          <a:p>
            <a:pPr marR="0" lvl="0" algn="l" defTabSz="914400" rtl="0" eaLnBrk="1" fontAlgn="auto" latinLnBrk="0" hangingPunct="1">
              <a:lnSpc>
                <a:spcPct val="150000"/>
              </a:lnSpc>
              <a:spcBef>
                <a:spcPts val="0"/>
              </a:spcBef>
              <a:spcAft>
                <a:spcPts val="0"/>
              </a:spcAft>
              <a:buClrTx/>
              <a:buSzTx/>
              <a:tabLst/>
              <a:defRPr/>
            </a:pPr>
            <a:r>
              <a:rPr lang="en-US" dirty="0">
                <a:solidFill>
                  <a:schemeClr val="bg1"/>
                </a:solidFill>
              </a:rPr>
              <a:t>4. Cleaning Texts</a:t>
            </a:r>
          </a:p>
          <a:p>
            <a:pPr marR="0" lvl="0" algn="l" defTabSz="914400" rtl="0" eaLnBrk="1" fontAlgn="auto" latinLnBrk="0" hangingPunct="1">
              <a:lnSpc>
                <a:spcPct val="150000"/>
              </a:lnSpc>
              <a:spcBef>
                <a:spcPts val="0"/>
              </a:spcBef>
              <a:spcAft>
                <a:spcPts val="0"/>
              </a:spcAft>
              <a:buClrTx/>
              <a:buSzTx/>
              <a:tabLst/>
              <a:defRPr/>
            </a:pPr>
            <a:r>
              <a:rPr lang="en-US" dirty="0">
                <a:solidFill>
                  <a:schemeClr val="bg1"/>
                </a:solidFill>
              </a:rPr>
              <a:t>5. Checking missing values</a:t>
            </a:r>
          </a:p>
          <a:p>
            <a:pPr marR="0" lvl="0" algn="l" defTabSz="914400" rtl="0" eaLnBrk="1" fontAlgn="auto" latinLnBrk="0" hangingPunct="1">
              <a:lnSpc>
                <a:spcPct val="150000"/>
              </a:lnSpc>
              <a:spcBef>
                <a:spcPts val="0"/>
              </a:spcBef>
              <a:spcAft>
                <a:spcPts val="0"/>
              </a:spcAft>
              <a:buClrTx/>
              <a:buSzTx/>
              <a:tabLst/>
              <a:defRPr/>
            </a:pPr>
            <a:r>
              <a:rPr lang="en-US" dirty="0">
                <a:solidFill>
                  <a:schemeClr val="bg1"/>
                </a:solidFill>
              </a:rPr>
              <a:t>6. Checking duplicate values</a:t>
            </a:r>
          </a:p>
        </p:txBody>
      </p:sp>
      <p:sp>
        <p:nvSpPr>
          <p:cNvPr id="10" name="Title 1">
            <a:extLst>
              <a:ext uri="{FF2B5EF4-FFF2-40B4-BE49-F238E27FC236}">
                <a16:creationId xmlns:a16="http://schemas.microsoft.com/office/drawing/2014/main" id="{D8600583-F63D-BDB5-ED6A-FFB47E74F175}"/>
              </a:ext>
            </a:extLst>
          </p:cNvPr>
          <p:cNvSpPr txBox="1">
            <a:spLocks/>
          </p:cNvSpPr>
          <p:nvPr/>
        </p:nvSpPr>
        <p:spPr>
          <a:xfrm>
            <a:off x="4391200" y="695557"/>
            <a:ext cx="10933200" cy="470898"/>
          </a:xfrm>
          <a:prstGeom prst="rect">
            <a:avLst/>
          </a:prstGeom>
        </p:spPr>
        <p:txBody>
          <a:bodyPr vert="horz" wrap="square" lIns="0" tIns="0" rIns="0" bIns="0" rtlCol="0" anchor="ctr">
            <a:noAutofit/>
          </a:bodyPr>
          <a:lstStyle>
            <a:lvl1pPr algn="l" defTabSz="914400" rtl="0" eaLnBrk="1" latinLnBrk="0" hangingPunct="1">
              <a:lnSpc>
                <a:spcPct val="90000"/>
              </a:lnSpc>
              <a:spcBef>
                <a:spcPct val="0"/>
              </a:spcBef>
              <a:buNone/>
              <a:defRPr sz="3200" kern="1200">
                <a:solidFill>
                  <a:schemeClr val="bg1"/>
                </a:solidFill>
                <a:latin typeface="+mj-lt"/>
                <a:ea typeface="+mj-ea"/>
                <a:cs typeface="+mj-cs"/>
                <a:sym typeface="Trebuchet MS" panose="020B0603020202020204" pitchFamily="34" charset="0"/>
              </a:defRPr>
            </a:lvl1pPr>
          </a:lstStyle>
          <a:p>
            <a:r>
              <a:rPr lang="en-US" dirty="0">
                <a:solidFill>
                  <a:srgbClr val="29BA74"/>
                </a:solidFill>
              </a:rPr>
              <a:t>Simple Exploratory Data Analysis</a:t>
            </a:r>
          </a:p>
        </p:txBody>
      </p:sp>
      <p:pic>
        <p:nvPicPr>
          <p:cNvPr id="13" name="Picture 12">
            <a:extLst>
              <a:ext uri="{FF2B5EF4-FFF2-40B4-BE49-F238E27FC236}">
                <a16:creationId xmlns:a16="http://schemas.microsoft.com/office/drawing/2014/main" id="{5B3685BE-6D7E-DE93-AA9A-A7365DE3F259}"/>
              </a:ext>
            </a:extLst>
          </p:cNvPr>
          <p:cNvPicPr>
            <a:picLocks noChangeAspect="1"/>
          </p:cNvPicPr>
          <p:nvPr/>
        </p:nvPicPr>
        <p:blipFill rotWithShape="1">
          <a:blip r:embed="rId6"/>
          <a:srcRect l="1839"/>
          <a:stretch/>
        </p:blipFill>
        <p:spPr>
          <a:xfrm>
            <a:off x="4398233" y="1976169"/>
            <a:ext cx="5335276" cy="1958424"/>
          </a:xfrm>
          <a:prstGeom prst="rect">
            <a:avLst/>
          </a:prstGeom>
        </p:spPr>
      </p:pic>
      <p:pic>
        <p:nvPicPr>
          <p:cNvPr id="15" name="Picture 14">
            <a:extLst>
              <a:ext uri="{FF2B5EF4-FFF2-40B4-BE49-F238E27FC236}">
                <a16:creationId xmlns:a16="http://schemas.microsoft.com/office/drawing/2014/main" id="{7726FE2A-3115-203D-F421-6BB86A110046}"/>
              </a:ext>
            </a:extLst>
          </p:cNvPr>
          <p:cNvPicPr>
            <a:picLocks noChangeAspect="1"/>
          </p:cNvPicPr>
          <p:nvPr/>
        </p:nvPicPr>
        <p:blipFill>
          <a:blip r:embed="rId7"/>
          <a:stretch>
            <a:fillRect/>
          </a:stretch>
        </p:blipFill>
        <p:spPr>
          <a:xfrm>
            <a:off x="4410497" y="4204019"/>
            <a:ext cx="5328303" cy="1948086"/>
          </a:xfrm>
          <a:prstGeom prst="rect">
            <a:avLst/>
          </a:prstGeom>
        </p:spPr>
      </p:pic>
      <p:pic>
        <p:nvPicPr>
          <p:cNvPr id="17" name="Picture 16">
            <a:extLst>
              <a:ext uri="{FF2B5EF4-FFF2-40B4-BE49-F238E27FC236}">
                <a16:creationId xmlns:a16="http://schemas.microsoft.com/office/drawing/2014/main" id="{7A4FCEF1-AABF-51FD-3F7D-7AB0D962DF4D}"/>
              </a:ext>
            </a:extLst>
          </p:cNvPr>
          <p:cNvPicPr>
            <a:picLocks noChangeAspect="1"/>
          </p:cNvPicPr>
          <p:nvPr/>
        </p:nvPicPr>
        <p:blipFill>
          <a:blip r:embed="rId8"/>
          <a:stretch>
            <a:fillRect/>
          </a:stretch>
        </p:blipFill>
        <p:spPr>
          <a:xfrm>
            <a:off x="9818698" y="1976169"/>
            <a:ext cx="1803228" cy="1958423"/>
          </a:xfrm>
          <a:prstGeom prst="rect">
            <a:avLst/>
          </a:prstGeom>
        </p:spPr>
      </p:pic>
      <p:pic>
        <p:nvPicPr>
          <p:cNvPr id="19" name="Picture 18">
            <a:extLst>
              <a:ext uri="{FF2B5EF4-FFF2-40B4-BE49-F238E27FC236}">
                <a16:creationId xmlns:a16="http://schemas.microsoft.com/office/drawing/2014/main" id="{AC8D2C64-C7A7-F6AD-9B54-7837A74CBE9E}"/>
              </a:ext>
            </a:extLst>
          </p:cNvPr>
          <p:cNvPicPr>
            <a:picLocks noChangeAspect="1"/>
          </p:cNvPicPr>
          <p:nvPr/>
        </p:nvPicPr>
        <p:blipFill>
          <a:blip r:embed="rId9"/>
          <a:stretch>
            <a:fillRect/>
          </a:stretch>
        </p:blipFill>
        <p:spPr>
          <a:xfrm>
            <a:off x="9818698" y="4234589"/>
            <a:ext cx="1858965" cy="1917516"/>
          </a:xfrm>
          <a:prstGeom prst="rect">
            <a:avLst/>
          </a:prstGeom>
        </p:spPr>
      </p:pic>
      <p:sp>
        <p:nvSpPr>
          <p:cNvPr id="23" name="Freeform 94">
            <a:extLst>
              <a:ext uri="{FF2B5EF4-FFF2-40B4-BE49-F238E27FC236}">
                <a16:creationId xmlns:a16="http://schemas.microsoft.com/office/drawing/2014/main" id="{3234443F-9827-F7F3-6F7B-6F03E19C541A}"/>
              </a:ext>
            </a:extLst>
          </p:cNvPr>
          <p:cNvSpPr>
            <a:spLocks/>
          </p:cNvSpPr>
          <p:nvPr/>
        </p:nvSpPr>
        <p:spPr bwMode="gray">
          <a:xfrm rot="11586153">
            <a:off x="3500079" y="785139"/>
            <a:ext cx="306171" cy="291735"/>
          </a:xfrm>
          <a:custGeom>
            <a:avLst/>
            <a:gdLst>
              <a:gd name="T0" fmla="*/ 0 w 1052"/>
              <a:gd name="T1" fmla="*/ 526 h 1052"/>
              <a:gd name="T2" fmla="*/ 0 w 1052"/>
              <a:gd name="T3" fmla="*/ 526 h 1052"/>
              <a:gd name="T4" fmla="*/ 526 w 1052"/>
              <a:gd name="T5" fmla="*/ 0 h 1052"/>
              <a:gd name="T6" fmla="*/ 1052 w 1052"/>
              <a:gd name="T7" fmla="*/ 526 h 1052"/>
              <a:gd name="T8" fmla="*/ 1052 w 1052"/>
              <a:gd name="T9" fmla="*/ 526 h 1052"/>
              <a:gd name="T10" fmla="*/ 526 w 1052"/>
              <a:gd name="T11" fmla="*/ 1052 h 1052"/>
              <a:gd name="T12" fmla="*/ 526 w 1052"/>
              <a:gd name="T13" fmla="*/ 1052 h 1052"/>
              <a:gd name="T14" fmla="*/ 0 w 1052"/>
              <a:gd name="T15" fmla="*/ 526 h 10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52" h="1052">
                <a:moveTo>
                  <a:pt x="0" y="526"/>
                </a:moveTo>
                <a:cubicBezTo>
                  <a:pt x="0" y="526"/>
                  <a:pt x="0" y="526"/>
                  <a:pt x="0" y="526"/>
                </a:cubicBezTo>
                <a:cubicBezTo>
                  <a:pt x="0" y="236"/>
                  <a:pt x="236" y="0"/>
                  <a:pt x="526" y="0"/>
                </a:cubicBezTo>
                <a:cubicBezTo>
                  <a:pt x="817" y="0"/>
                  <a:pt x="1052" y="236"/>
                  <a:pt x="1052" y="526"/>
                </a:cubicBezTo>
                <a:cubicBezTo>
                  <a:pt x="1052" y="526"/>
                  <a:pt x="1052" y="526"/>
                  <a:pt x="1052" y="526"/>
                </a:cubicBezTo>
                <a:cubicBezTo>
                  <a:pt x="1052" y="817"/>
                  <a:pt x="817" y="1052"/>
                  <a:pt x="526" y="1052"/>
                </a:cubicBezTo>
                <a:cubicBezTo>
                  <a:pt x="526" y="1052"/>
                  <a:pt x="526" y="1052"/>
                  <a:pt x="526" y="1052"/>
                </a:cubicBezTo>
                <a:cubicBezTo>
                  <a:pt x="236" y="1052"/>
                  <a:pt x="0" y="817"/>
                  <a:pt x="0" y="526"/>
                </a:cubicBezTo>
                <a:close/>
              </a:path>
            </a:pathLst>
          </a:custGeom>
          <a:solidFill>
            <a:schemeClr val="bg1"/>
          </a:solidFill>
          <a:ln>
            <a:noFill/>
          </a:ln>
        </p:spPr>
        <p:txBody>
          <a:bodyPr vert="horz" wrap="square" lIns="88641" tIns="44321" rIns="88641" bIns="44321" numCol="1" anchor="t" anchorCtr="0" compatLnSpc="1">
            <a:prstTxWarp prst="textNoShape">
              <a:avLst/>
            </a:prstTxWarp>
          </a:bodyPr>
          <a:lstStyle/>
          <a:p>
            <a:endParaRPr lang="en-US" dirty="0">
              <a:solidFill>
                <a:srgbClr val="6E6F73"/>
              </a:solidFill>
            </a:endParaRPr>
          </a:p>
        </p:txBody>
      </p:sp>
      <p:sp>
        <p:nvSpPr>
          <p:cNvPr id="24" name="Freeform 95">
            <a:extLst>
              <a:ext uri="{FF2B5EF4-FFF2-40B4-BE49-F238E27FC236}">
                <a16:creationId xmlns:a16="http://schemas.microsoft.com/office/drawing/2014/main" id="{EC3B7088-1ED8-A69D-16D2-42792C8D279E}"/>
              </a:ext>
            </a:extLst>
          </p:cNvPr>
          <p:cNvSpPr>
            <a:spLocks/>
          </p:cNvSpPr>
          <p:nvPr/>
        </p:nvSpPr>
        <p:spPr bwMode="gray">
          <a:xfrm rot="166379">
            <a:off x="3611307" y="824196"/>
            <a:ext cx="120251" cy="213618"/>
          </a:xfrm>
          <a:custGeom>
            <a:avLst/>
            <a:gdLst>
              <a:gd name="T0" fmla="*/ 66 w 976"/>
              <a:gd name="T1" fmla="*/ 1824 h 1824"/>
              <a:gd name="T2" fmla="*/ 0 w 976"/>
              <a:gd name="T3" fmla="*/ 1758 h 1824"/>
              <a:gd name="T4" fmla="*/ 843 w 976"/>
              <a:gd name="T5" fmla="*/ 912 h 1824"/>
              <a:gd name="T6" fmla="*/ 0 w 976"/>
              <a:gd name="T7" fmla="*/ 66 h 1824"/>
              <a:gd name="T8" fmla="*/ 66 w 976"/>
              <a:gd name="T9" fmla="*/ 0 h 1824"/>
              <a:gd name="T10" fmla="*/ 976 w 976"/>
              <a:gd name="T11" fmla="*/ 912 h 1824"/>
              <a:gd name="T12" fmla="*/ 66 w 976"/>
              <a:gd name="T13" fmla="*/ 1824 h 1824"/>
            </a:gdLst>
            <a:ahLst/>
            <a:cxnLst>
              <a:cxn ang="0">
                <a:pos x="T0" y="T1"/>
              </a:cxn>
              <a:cxn ang="0">
                <a:pos x="T2" y="T3"/>
              </a:cxn>
              <a:cxn ang="0">
                <a:pos x="T4" y="T5"/>
              </a:cxn>
              <a:cxn ang="0">
                <a:pos x="T6" y="T7"/>
              </a:cxn>
              <a:cxn ang="0">
                <a:pos x="T8" y="T9"/>
              </a:cxn>
              <a:cxn ang="0">
                <a:pos x="T10" y="T11"/>
              </a:cxn>
              <a:cxn ang="0">
                <a:pos x="T12" y="T13"/>
              </a:cxn>
            </a:cxnLst>
            <a:rect l="0" t="0" r="r" b="b"/>
            <a:pathLst>
              <a:path w="976" h="1824">
                <a:moveTo>
                  <a:pt x="66" y="1824"/>
                </a:moveTo>
                <a:lnTo>
                  <a:pt x="0" y="1758"/>
                </a:lnTo>
                <a:lnTo>
                  <a:pt x="843" y="912"/>
                </a:lnTo>
                <a:lnTo>
                  <a:pt x="0" y="66"/>
                </a:lnTo>
                <a:lnTo>
                  <a:pt x="66" y="0"/>
                </a:lnTo>
                <a:lnTo>
                  <a:pt x="976" y="912"/>
                </a:lnTo>
                <a:lnTo>
                  <a:pt x="66" y="1824"/>
                </a:lnTo>
                <a:close/>
              </a:path>
            </a:pathLst>
          </a:custGeom>
          <a:solidFill>
            <a:srgbClr val="29BA74"/>
          </a:solidFill>
          <a:ln>
            <a:noFill/>
          </a:ln>
        </p:spPr>
        <p:txBody>
          <a:bodyPr vert="horz" wrap="square" lIns="88641" tIns="44321" rIns="88641" bIns="44321" numCol="1" anchor="t" anchorCtr="0" compatLnSpc="1">
            <a:prstTxWarp prst="textNoShape">
              <a:avLst/>
            </a:prstTxWarp>
          </a:bodyPr>
          <a:lstStyle/>
          <a:p>
            <a:endParaRPr lang="en-US" dirty="0">
              <a:solidFill>
                <a:srgbClr val="29BA74"/>
              </a:solidFill>
            </a:endParaRPr>
          </a:p>
        </p:txBody>
      </p:sp>
    </p:spTree>
    <p:extLst>
      <p:ext uri="{BB962C8B-B14F-4D97-AF65-F5344CB8AC3E}">
        <p14:creationId xmlns:p14="http://schemas.microsoft.com/office/powerpoint/2010/main" val="2885872551"/>
      </p:ext>
    </p:extLst>
  </p:cSld>
  <p:clrMapOvr>
    <a:masterClrMapping/>
  </p:clrMapOvr>
  <mc:AlternateContent xmlns:mc="http://schemas.openxmlformats.org/markup-compatibility/2006" xmlns:p14="http://schemas.microsoft.com/office/powerpoint/2010/main">
    <mc:Choice Requires="p14">
      <p:transition p14:dur="250"/>
    </mc:Choice>
    <mc:Fallback xmlns="">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B22D96A-FA7C-D8F4-1022-F54CDFAFBEB1}"/>
              </a:ext>
            </a:extLst>
          </p:cNvPr>
          <p:cNvSpPr>
            <a:spLocks noGrp="1"/>
          </p:cNvSpPr>
          <p:nvPr>
            <p:ph type="title"/>
          </p:nvPr>
        </p:nvSpPr>
        <p:spPr/>
        <p:txBody>
          <a:bodyPr/>
          <a:lstStyle/>
          <a:p>
            <a:r>
              <a:rPr lang="en-US" dirty="0"/>
              <a:t>When to Target</a:t>
            </a:r>
          </a:p>
        </p:txBody>
      </p:sp>
      <p:pic>
        <p:nvPicPr>
          <p:cNvPr id="4" name="Picture 3">
            <a:extLst>
              <a:ext uri="{FF2B5EF4-FFF2-40B4-BE49-F238E27FC236}">
                <a16:creationId xmlns:a16="http://schemas.microsoft.com/office/drawing/2014/main" id="{0803F5EC-B9B5-BB13-5516-844662BAAE66}"/>
              </a:ext>
            </a:extLst>
          </p:cNvPr>
          <p:cNvPicPr>
            <a:picLocks noChangeAspect="1"/>
          </p:cNvPicPr>
          <p:nvPr/>
        </p:nvPicPr>
        <p:blipFill>
          <a:blip r:embed="rId2"/>
          <a:stretch>
            <a:fillRect/>
          </a:stretch>
        </p:blipFill>
        <p:spPr>
          <a:xfrm>
            <a:off x="630000" y="1345449"/>
            <a:ext cx="4506910" cy="1473300"/>
          </a:xfrm>
          <a:prstGeom prst="rect">
            <a:avLst/>
          </a:prstGeom>
        </p:spPr>
      </p:pic>
      <p:pic>
        <p:nvPicPr>
          <p:cNvPr id="6" name="Picture 5">
            <a:extLst>
              <a:ext uri="{FF2B5EF4-FFF2-40B4-BE49-F238E27FC236}">
                <a16:creationId xmlns:a16="http://schemas.microsoft.com/office/drawing/2014/main" id="{1F47ACB1-1C38-5366-AD47-2F0AA293A53A}"/>
              </a:ext>
            </a:extLst>
          </p:cNvPr>
          <p:cNvPicPr>
            <a:picLocks noChangeAspect="1"/>
          </p:cNvPicPr>
          <p:nvPr/>
        </p:nvPicPr>
        <p:blipFill>
          <a:blip r:embed="rId3"/>
          <a:stretch>
            <a:fillRect/>
          </a:stretch>
        </p:blipFill>
        <p:spPr>
          <a:xfrm>
            <a:off x="6950271" y="1345449"/>
            <a:ext cx="4756394" cy="4889751"/>
          </a:xfrm>
          <a:prstGeom prst="rect">
            <a:avLst/>
          </a:prstGeom>
        </p:spPr>
      </p:pic>
      <p:cxnSp>
        <p:nvCxnSpPr>
          <p:cNvPr id="7" name="Straight Connector 6">
            <a:extLst>
              <a:ext uri="{FF2B5EF4-FFF2-40B4-BE49-F238E27FC236}">
                <a16:creationId xmlns:a16="http://schemas.microsoft.com/office/drawing/2014/main" id="{25E1BE30-4BC6-11F5-4C31-4DE65A8F9198}"/>
              </a:ext>
            </a:extLst>
          </p:cNvPr>
          <p:cNvCxnSpPr>
            <a:cxnSpLocks/>
          </p:cNvCxnSpPr>
          <p:nvPr/>
        </p:nvCxnSpPr>
        <p:spPr>
          <a:xfrm>
            <a:off x="5281750" y="1269235"/>
            <a:ext cx="0" cy="1682097"/>
          </a:xfrm>
          <a:prstGeom prst="line">
            <a:avLst/>
          </a:prstGeom>
          <a:ln w="9525" cap="rnd">
            <a:solidFill>
              <a:schemeClr val="tx1">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pic>
        <p:nvPicPr>
          <p:cNvPr id="12" name="Picture 11">
            <a:extLst>
              <a:ext uri="{FF2B5EF4-FFF2-40B4-BE49-F238E27FC236}">
                <a16:creationId xmlns:a16="http://schemas.microsoft.com/office/drawing/2014/main" id="{8D4F2FB9-6DFB-86B5-FF73-A36367F76CB9}"/>
              </a:ext>
            </a:extLst>
          </p:cNvPr>
          <p:cNvPicPr>
            <a:picLocks noChangeAspect="1"/>
          </p:cNvPicPr>
          <p:nvPr/>
        </p:nvPicPr>
        <p:blipFill>
          <a:blip r:embed="rId4"/>
          <a:stretch>
            <a:fillRect/>
          </a:stretch>
        </p:blipFill>
        <p:spPr>
          <a:xfrm>
            <a:off x="5425904" y="1536803"/>
            <a:ext cx="1421477" cy="1281946"/>
          </a:xfrm>
          <a:prstGeom prst="rect">
            <a:avLst/>
          </a:prstGeom>
        </p:spPr>
      </p:pic>
      <p:sp>
        <p:nvSpPr>
          <p:cNvPr id="13" name="TextBox 12">
            <a:extLst>
              <a:ext uri="{FF2B5EF4-FFF2-40B4-BE49-F238E27FC236}">
                <a16:creationId xmlns:a16="http://schemas.microsoft.com/office/drawing/2014/main" id="{000DE64D-B401-CCDD-4814-FC9760802CE3}"/>
              </a:ext>
            </a:extLst>
          </p:cNvPr>
          <p:cNvSpPr txBox="1"/>
          <p:nvPr/>
        </p:nvSpPr>
        <p:spPr>
          <a:xfrm>
            <a:off x="7405317" y="807235"/>
            <a:ext cx="5426557" cy="594532"/>
          </a:xfrm>
          <a:prstGeom prst="rect">
            <a:avLst/>
          </a:prstGeom>
          <a:noFill/>
        </p:spPr>
        <p:txBody>
          <a:bodyPr wrap="square" lIns="0" tIns="0" rIns="144000" bIns="0" rtlCol="0" anchor="ctr">
            <a:noAutofit/>
          </a:bodyPr>
          <a:lstStyle/>
          <a:p>
            <a:pPr>
              <a:lnSpc>
                <a:spcPct val="90000"/>
              </a:lnSpc>
              <a:spcAft>
                <a:spcPts val="600"/>
              </a:spcAft>
            </a:pPr>
            <a:r>
              <a:rPr lang="en-US" sz="1400" i="1" dirty="0">
                <a:solidFill>
                  <a:schemeClr val="bg2">
                    <a:lumMod val="50000"/>
                  </a:schemeClr>
                </a:solidFill>
              </a:rPr>
              <a:t>Distribution of Monthly Booking for Each Subtrade</a:t>
            </a:r>
          </a:p>
        </p:txBody>
      </p:sp>
      <p:sp>
        <p:nvSpPr>
          <p:cNvPr id="14" name="TextBox 13">
            <a:extLst>
              <a:ext uri="{FF2B5EF4-FFF2-40B4-BE49-F238E27FC236}">
                <a16:creationId xmlns:a16="http://schemas.microsoft.com/office/drawing/2014/main" id="{357A0BB7-27FB-5FBB-8BFD-9B1FD95CDF38}"/>
              </a:ext>
            </a:extLst>
          </p:cNvPr>
          <p:cNvSpPr txBox="1"/>
          <p:nvPr/>
        </p:nvSpPr>
        <p:spPr>
          <a:xfrm>
            <a:off x="5781164" y="1047930"/>
            <a:ext cx="774337" cy="594532"/>
          </a:xfrm>
          <a:prstGeom prst="rect">
            <a:avLst/>
          </a:prstGeom>
          <a:noFill/>
        </p:spPr>
        <p:txBody>
          <a:bodyPr wrap="square" lIns="0" tIns="0" rIns="144000" bIns="0" rtlCol="0" anchor="ctr">
            <a:noAutofit/>
          </a:bodyPr>
          <a:lstStyle/>
          <a:p>
            <a:pPr>
              <a:lnSpc>
                <a:spcPct val="90000"/>
              </a:lnSpc>
              <a:spcAft>
                <a:spcPts val="600"/>
              </a:spcAft>
            </a:pPr>
            <a:r>
              <a:rPr lang="en-US" sz="1400" i="1" dirty="0">
                <a:solidFill>
                  <a:schemeClr val="bg2">
                    <a:lumMod val="50000"/>
                  </a:schemeClr>
                </a:solidFill>
              </a:rPr>
              <a:t>Average</a:t>
            </a:r>
          </a:p>
        </p:txBody>
      </p:sp>
      <p:sp>
        <p:nvSpPr>
          <p:cNvPr id="16" name="TextBox 15">
            <a:extLst>
              <a:ext uri="{FF2B5EF4-FFF2-40B4-BE49-F238E27FC236}">
                <a16:creationId xmlns:a16="http://schemas.microsoft.com/office/drawing/2014/main" id="{55E71E00-A7DB-CD8A-A290-EC8846F026BA}"/>
              </a:ext>
            </a:extLst>
          </p:cNvPr>
          <p:cNvSpPr txBox="1"/>
          <p:nvPr/>
        </p:nvSpPr>
        <p:spPr>
          <a:xfrm>
            <a:off x="485335" y="2943804"/>
            <a:ext cx="6551360" cy="3539430"/>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r>
              <a:rPr lang="en-US" sz="1600" b="1" dirty="0">
                <a:solidFill>
                  <a:srgbClr val="575757"/>
                </a:solidFill>
              </a:rPr>
              <a:t>Insights from the upper chart:</a:t>
            </a:r>
          </a:p>
          <a:p>
            <a:r>
              <a:rPr lang="en-US" sz="1600" dirty="0">
                <a:solidFill>
                  <a:srgbClr val="575757"/>
                </a:solidFill>
              </a:rPr>
              <a:t>Months such as January and September have higher volume of booking while months such as December have low booking volume.</a:t>
            </a:r>
          </a:p>
          <a:p>
            <a:pPr marL="285750" indent="-285750">
              <a:buFontTx/>
              <a:buChar char="-"/>
            </a:pPr>
            <a:r>
              <a:rPr lang="en-US" sz="1600" dirty="0">
                <a:solidFill>
                  <a:srgbClr val="575757"/>
                </a:solidFill>
              </a:rPr>
              <a:t>Possible Reasons</a:t>
            </a:r>
          </a:p>
          <a:p>
            <a:pPr marL="285750" indent="-285750">
              <a:buFontTx/>
              <a:buChar char="-"/>
            </a:pPr>
            <a:r>
              <a:rPr lang="en-US" sz="1600" dirty="0">
                <a:solidFill>
                  <a:srgbClr val="575757"/>
                </a:solidFill>
              </a:rPr>
              <a:t>Strategy: </a:t>
            </a:r>
          </a:p>
          <a:p>
            <a:pPr marL="742950" lvl="1" indent="-285750">
              <a:buFontTx/>
              <a:buChar char="-"/>
            </a:pPr>
            <a:r>
              <a:rPr lang="en-US" sz="1600" dirty="0">
                <a:solidFill>
                  <a:srgbClr val="575757"/>
                </a:solidFill>
              </a:rPr>
              <a:t>Offer discounts in off-season months to increase booking</a:t>
            </a:r>
          </a:p>
          <a:p>
            <a:pPr marL="742950" lvl="1" indent="-285750">
              <a:buFontTx/>
              <a:buChar char="-"/>
            </a:pPr>
            <a:r>
              <a:rPr lang="en-US" sz="1600" dirty="0">
                <a:solidFill>
                  <a:srgbClr val="575757"/>
                </a:solidFill>
              </a:rPr>
              <a:t>Send more personalized communications during peak months to increase marketing efficiency</a:t>
            </a:r>
          </a:p>
          <a:p>
            <a:r>
              <a:rPr lang="en-US" sz="1600" b="1" dirty="0">
                <a:solidFill>
                  <a:srgbClr val="575757"/>
                </a:solidFill>
              </a:rPr>
              <a:t>Insights from the right chart:</a:t>
            </a:r>
          </a:p>
          <a:p>
            <a:r>
              <a:rPr lang="en-US" sz="1600" dirty="0">
                <a:solidFill>
                  <a:srgbClr val="575757"/>
                </a:solidFill>
              </a:rPr>
              <a:t>We could derive insights on: For each subtrade, which month(s) witness higher likelihood of booking compared to average.</a:t>
            </a:r>
          </a:p>
          <a:p>
            <a:pPr marL="285750" indent="-285750">
              <a:buFontTx/>
              <a:buChar char="-"/>
            </a:pPr>
            <a:r>
              <a:rPr lang="en-US" sz="1600" dirty="0">
                <a:solidFill>
                  <a:srgbClr val="575757"/>
                </a:solidFill>
              </a:rPr>
              <a:t>Strategy:</a:t>
            </a:r>
          </a:p>
          <a:p>
            <a:pPr marL="742950" lvl="1" indent="-285750">
              <a:buFontTx/>
              <a:buChar char="-"/>
            </a:pPr>
            <a:r>
              <a:rPr lang="en-US" sz="1600" dirty="0">
                <a:solidFill>
                  <a:srgbClr val="575757"/>
                </a:solidFill>
              </a:rPr>
              <a:t>To do marketing for a specific subtrade, send marketing communications during/before high-booking months.</a:t>
            </a:r>
          </a:p>
        </p:txBody>
      </p:sp>
      <p:sp>
        <p:nvSpPr>
          <p:cNvPr id="17" name="TextBox 16">
            <a:extLst>
              <a:ext uri="{FF2B5EF4-FFF2-40B4-BE49-F238E27FC236}">
                <a16:creationId xmlns:a16="http://schemas.microsoft.com/office/drawing/2014/main" id="{788AC627-649C-31E1-4A57-72B868A078DE}"/>
              </a:ext>
            </a:extLst>
          </p:cNvPr>
          <p:cNvSpPr txBox="1"/>
          <p:nvPr/>
        </p:nvSpPr>
        <p:spPr>
          <a:xfrm>
            <a:off x="628800" y="153419"/>
            <a:ext cx="10085208" cy="594532"/>
          </a:xfrm>
          <a:prstGeom prst="rect">
            <a:avLst/>
          </a:prstGeom>
          <a:noFill/>
        </p:spPr>
        <p:txBody>
          <a:bodyPr wrap="square" lIns="0" tIns="0" rIns="144000" bIns="0" rtlCol="0" anchor="ctr">
            <a:noAutofit/>
          </a:bodyPr>
          <a:lstStyle/>
          <a:p>
            <a:pPr>
              <a:lnSpc>
                <a:spcPct val="90000"/>
              </a:lnSpc>
              <a:spcAft>
                <a:spcPts val="600"/>
              </a:spcAft>
            </a:pPr>
            <a:r>
              <a:rPr lang="en-US" sz="1400" i="1" dirty="0">
                <a:solidFill>
                  <a:schemeClr val="bg2">
                    <a:lumMod val="50000"/>
                  </a:schemeClr>
                </a:solidFill>
              </a:rPr>
              <a:t>Q: Given a particular subtrade, when should we reach out to guests?</a:t>
            </a:r>
          </a:p>
        </p:txBody>
      </p:sp>
    </p:spTree>
    <p:extLst>
      <p:ext uri="{BB962C8B-B14F-4D97-AF65-F5344CB8AC3E}">
        <p14:creationId xmlns:p14="http://schemas.microsoft.com/office/powerpoint/2010/main" val="252884362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ECC811-2C87-053E-7143-6B79AA0FFDAC}"/>
              </a:ext>
            </a:extLst>
          </p:cNvPr>
          <p:cNvSpPr>
            <a:spLocks noGrp="1"/>
          </p:cNvSpPr>
          <p:nvPr>
            <p:ph type="title"/>
          </p:nvPr>
        </p:nvSpPr>
        <p:spPr/>
        <p:txBody>
          <a:bodyPr/>
          <a:lstStyle/>
          <a:p>
            <a:r>
              <a:rPr lang="en-US" dirty="0"/>
              <a:t>Who to Target &amp; What to Target</a:t>
            </a:r>
          </a:p>
        </p:txBody>
      </p:sp>
      <p:sp>
        <p:nvSpPr>
          <p:cNvPr id="3" name="TextBox 2">
            <a:extLst>
              <a:ext uri="{FF2B5EF4-FFF2-40B4-BE49-F238E27FC236}">
                <a16:creationId xmlns:a16="http://schemas.microsoft.com/office/drawing/2014/main" id="{465BB4C6-6C18-6BA8-84D4-562A128F8566}"/>
              </a:ext>
            </a:extLst>
          </p:cNvPr>
          <p:cNvSpPr txBox="1"/>
          <p:nvPr/>
        </p:nvSpPr>
        <p:spPr>
          <a:xfrm>
            <a:off x="628800" y="153419"/>
            <a:ext cx="10085208" cy="594532"/>
          </a:xfrm>
          <a:prstGeom prst="rect">
            <a:avLst/>
          </a:prstGeom>
          <a:noFill/>
        </p:spPr>
        <p:txBody>
          <a:bodyPr wrap="square" lIns="0" tIns="0" rIns="144000" bIns="0" rtlCol="0" anchor="ctr">
            <a:noAutofit/>
          </a:bodyPr>
          <a:lstStyle/>
          <a:p>
            <a:pPr>
              <a:lnSpc>
                <a:spcPct val="90000"/>
              </a:lnSpc>
              <a:spcAft>
                <a:spcPts val="600"/>
              </a:spcAft>
            </a:pPr>
            <a:r>
              <a:rPr lang="en-US" sz="1400" i="1" dirty="0">
                <a:solidFill>
                  <a:schemeClr val="bg2">
                    <a:lumMod val="50000"/>
                  </a:schemeClr>
                </a:solidFill>
              </a:rPr>
              <a:t>Q: Given a particular subtrade, what kind of guests will be most interested?</a:t>
            </a:r>
          </a:p>
        </p:txBody>
      </p:sp>
      <p:sp>
        <p:nvSpPr>
          <p:cNvPr id="4" name="TextBox 3">
            <a:extLst>
              <a:ext uri="{FF2B5EF4-FFF2-40B4-BE49-F238E27FC236}">
                <a16:creationId xmlns:a16="http://schemas.microsoft.com/office/drawing/2014/main" id="{0140049A-3384-8FDD-DE06-A286A3E58E48}"/>
              </a:ext>
            </a:extLst>
          </p:cNvPr>
          <p:cNvSpPr txBox="1"/>
          <p:nvPr/>
        </p:nvSpPr>
        <p:spPr>
          <a:xfrm>
            <a:off x="607989" y="1217332"/>
            <a:ext cx="6551360" cy="584775"/>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r>
              <a:rPr lang="en-US" sz="1600" b="1" dirty="0">
                <a:solidFill>
                  <a:srgbClr val="575757"/>
                </a:solidFill>
              </a:rPr>
              <a:t>Subtrade</a:t>
            </a:r>
          </a:p>
          <a:p>
            <a:endParaRPr lang="en-US" sz="1600" dirty="0">
              <a:solidFill>
                <a:srgbClr val="575757"/>
              </a:solidFill>
            </a:endParaRPr>
          </a:p>
        </p:txBody>
      </p:sp>
      <p:pic>
        <p:nvPicPr>
          <p:cNvPr id="6" name="Picture 5">
            <a:extLst>
              <a:ext uri="{FF2B5EF4-FFF2-40B4-BE49-F238E27FC236}">
                <a16:creationId xmlns:a16="http://schemas.microsoft.com/office/drawing/2014/main" id="{AE475A6E-BE96-7CAC-F0F4-98AF7E68D144}"/>
              </a:ext>
            </a:extLst>
          </p:cNvPr>
          <p:cNvPicPr>
            <a:picLocks noChangeAspect="1"/>
          </p:cNvPicPr>
          <p:nvPr/>
        </p:nvPicPr>
        <p:blipFill>
          <a:blip r:embed="rId2"/>
          <a:stretch>
            <a:fillRect/>
          </a:stretch>
        </p:blipFill>
        <p:spPr>
          <a:xfrm>
            <a:off x="7041248" y="1313726"/>
            <a:ext cx="4769095" cy="4851649"/>
          </a:xfrm>
          <a:prstGeom prst="rect">
            <a:avLst/>
          </a:prstGeom>
        </p:spPr>
      </p:pic>
      <p:pic>
        <p:nvPicPr>
          <p:cNvPr id="8" name="Picture 7">
            <a:extLst>
              <a:ext uri="{FF2B5EF4-FFF2-40B4-BE49-F238E27FC236}">
                <a16:creationId xmlns:a16="http://schemas.microsoft.com/office/drawing/2014/main" id="{7F5028C4-C9A3-E3C3-10A3-C1867EC08359}"/>
              </a:ext>
            </a:extLst>
          </p:cNvPr>
          <p:cNvPicPr>
            <a:picLocks noChangeAspect="1"/>
          </p:cNvPicPr>
          <p:nvPr/>
        </p:nvPicPr>
        <p:blipFill>
          <a:blip r:embed="rId3"/>
          <a:stretch>
            <a:fillRect/>
          </a:stretch>
        </p:blipFill>
        <p:spPr>
          <a:xfrm>
            <a:off x="5515609" y="4782080"/>
            <a:ext cx="1282766" cy="1092256"/>
          </a:xfrm>
          <a:prstGeom prst="rect">
            <a:avLst/>
          </a:prstGeom>
        </p:spPr>
      </p:pic>
      <p:pic>
        <p:nvPicPr>
          <p:cNvPr id="10" name="Picture 9">
            <a:extLst>
              <a:ext uri="{FF2B5EF4-FFF2-40B4-BE49-F238E27FC236}">
                <a16:creationId xmlns:a16="http://schemas.microsoft.com/office/drawing/2014/main" id="{73D984C3-22FC-1600-F756-7244ECA722E7}"/>
              </a:ext>
            </a:extLst>
          </p:cNvPr>
          <p:cNvPicPr>
            <a:picLocks noChangeAspect="1"/>
          </p:cNvPicPr>
          <p:nvPr/>
        </p:nvPicPr>
        <p:blipFill>
          <a:blip r:embed="rId4"/>
          <a:stretch>
            <a:fillRect/>
          </a:stretch>
        </p:blipFill>
        <p:spPr>
          <a:xfrm>
            <a:off x="514905" y="1776852"/>
            <a:ext cx="3657788" cy="2355971"/>
          </a:xfrm>
          <a:prstGeom prst="rect">
            <a:avLst/>
          </a:prstGeom>
        </p:spPr>
      </p:pic>
      <p:sp>
        <p:nvSpPr>
          <p:cNvPr id="11" name="TextBox 10">
            <a:extLst>
              <a:ext uri="{FF2B5EF4-FFF2-40B4-BE49-F238E27FC236}">
                <a16:creationId xmlns:a16="http://schemas.microsoft.com/office/drawing/2014/main" id="{E390BA0B-FE06-D41E-D682-55AC6835C0EE}"/>
              </a:ext>
            </a:extLst>
          </p:cNvPr>
          <p:cNvSpPr txBox="1"/>
          <p:nvPr/>
        </p:nvSpPr>
        <p:spPr>
          <a:xfrm>
            <a:off x="7912474" y="858249"/>
            <a:ext cx="5426557" cy="594532"/>
          </a:xfrm>
          <a:prstGeom prst="rect">
            <a:avLst/>
          </a:prstGeom>
          <a:noFill/>
        </p:spPr>
        <p:txBody>
          <a:bodyPr wrap="square" lIns="0" tIns="0" rIns="144000" bIns="0" rtlCol="0" anchor="ctr">
            <a:noAutofit/>
          </a:bodyPr>
          <a:lstStyle/>
          <a:p>
            <a:pPr>
              <a:lnSpc>
                <a:spcPct val="90000"/>
              </a:lnSpc>
              <a:spcAft>
                <a:spcPts val="600"/>
              </a:spcAft>
            </a:pPr>
            <a:r>
              <a:rPr lang="en-US" sz="1400" i="1" dirty="0">
                <a:solidFill>
                  <a:schemeClr val="bg2">
                    <a:lumMod val="50000"/>
                  </a:schemeClr>
                </a:solidFill>
              </a:rPr>
              <a:t>Distribution of Age for Each Subtrade</a:t>
            </a:r>
          </a:p>
        </p:txBody>
      </p:sp>
      <p:sp>
        <p:nvSpPr>
          <p:cNvPr id="12" name="TextBox 11">
            <a:extLst>
              <a:ext uri="{FF2B5EF4-FFF2-40B4-BE49-F238E27FC236}">
                <a16:creationId xmlns:a16="http://schemas.microsoft.com/office/drawing/2014/main" id="{52042E96-C9DE-6808-BC1B-52439BBFEEE8}"/>
              </a:ext>
            </a:extLst>
          </p:cNvPr>
          <p:cNvSpPr txBox="1"/>
          <p:nvPr/>
        </p:nvSpPr>
        <p:spPr>
          <a:xfrm>
            <a:off x="5876055" y="5775205"/>
            <a:ext cx="774337" cy="594532"/>
          </a:xfrm>
          <a:prstGeom prst="rect">
            <a:avLst/>
          </a:prstGeom>
          <a:noFill/>
        </p:spPr>
        <p:txBody>
          <a:bodyPr wrap="square" lIns="0" tIns="0" rIns="144000" bIns="0" rtlCol="0" anchor="ctr">
            <a:noAutofit/>
          </a:bodyPr>
          <a:lstStyle/>
          <a:p>
            <a:pPr>
              <a:lnSpc>
                <a:spcPct val="90000"/>
              </a:lnSpc>
              <a:spcAft>
                <a:spcPts val="600"/>
              </a:spcAft>
            </a:pPr>
            <a:r>
              <a:rPr lang="en-US" sz="1400" i="1" dirty="0">
                <a:solidFill>
                  <a:schemeClr val="bg2">
                    <a:lumMod val="50000"/>
                  </a:schemeClr>
                </a:solidFill>
              </a:rPr>
              <a:t>Average</a:t>
            </a:r>
          </a:p>
        </p:txBody>
      </p:sp>
      <p:sp>
        <p:nvSpPr>
          <p:cNvPr id="13" name="TextBox 12">
            <a:extLst>
              <a:ext uri="{FF2B5EF4-FFF2-40B4-BE49-F238E27FC236}">
                <a16:creationId xmlns:a16="http://schemas.microsoft.com/office/drawing/2014/main" id="{819157CC-86E0-1C5F-3A52-BCA65D33971B}"/>
              </a:ext>
            </a:extLst>
          </p:cNvPr>
          <p:cNvSpPr txBox="1"/>
          <p:nvPr/>
        </p:nvSpPr>
        <p:spPr>
          <a:xfrm>
            <a:off x="608465" y="4271064"/>
            <a:ext cx="4769095" cy="2062103"/>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r>
              <a:rPr lang="en-US" sz="1600" b="1" dirty="0">
                <a:solidFill>
                  <a:srgbClr val="575757"/>
                </a:solidFill>
              </a:rPr>
              <a:t>Insights from the upper chart:</a:t>
            </a:r>
          </a:p>
          <a:p>
            <a:r>
              <a:rPr lang="en-US" sz="1600" dirty="0">
                <a:solidFill>
                  <a:srgbClr val="575757"/>
                </a:solidFill>
              </a:rPr>
              <a:t>We can also break down life stage by subtrade.</a:t>
            </a:r>
          </a:p>
          <a:p>
            <a:r>
              <a:rPr lang="en-US" sz="1600" dirty="0">
                <a:solidFill>
                  <a:srgbClr val="575757"/>
                </a:solidFill>
              </a:rPr>
              <a:t>This chart shows for each life stage, what subtrades interest them most.</a:t>
            </a:r>
          </a:p>
          <a:p>
            <a:pPr marL="285750" indent="-285750">
              <a:buFontTx/>
              <a:buChar char="-"/>
            </a:pPr>
            <a:r>
              <a:rPr lang="en-US" sz="1600" dirty="0">
                <a:solidFill>
                  <a:srgbClr val="575757"/>
                </a:solidFill>
              </a:rPr>
              <a:t>Families like subtrade “Alaska RT Seattle”; Pre-families like subtrade “Coastal” etc.</a:t>
            </a:r>
          </a:p>
          <a:p>
            <a:r>
              <a:rPr lang="en-US" sz="1600" dirty="0">
                <a:solidFill>
                  <a:srgbClr val="575757"/>
                </a:solidFill>
              </a:rPr>
              <a:t>Strategy: Target guests who are in life stages that show preference for a particular subtrade.</a:t>
            </a:r>
          </a:p>
        </p:txBody>
      </p:sp>
      <p:sp>
        <p:nvSpPr>
          <p:cNvPr id="14" name="TextBox 13">
            <a:extLst>
              <a:ext uri="{FF2B5EF4-FFF2-40B4-BE49-F238E27FC236}">
                <a16:creationId xmlns:a16="http://schemas.microsoft.com/office/drawing/2014/main" id="{B7306838-A057-C0CD-B387-1DB022D67C05}"/>
              </a:ext>
            </a:extLst>
          </p:cNvPr>
          <p:cNvSpPr txBox="1"/>
          <p:nvPr/>
        </p:nvSpPr>
        <p:spPr>
          <a:xfrm>
            <a:off x="4265777" y="1690193"/>
            <a:ext cx="2841368" cy="2554545"/>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r>
              <a:rPr lang="en-US" sz="1600" b="1" dirty="0">
                <a:solidFill>
                  <a:srgbClr val="575757"/>
                </a:solidFill>
              </a:rPr>
              <a:t>Insights from right chart</a:t>
            </a:r>
          </a:p>
          <a:p>
            <a:r>
              <a:rPr lang="en-US" sz="1600" dirty="0">
                <a:solidFill>
                  <a:srgbClr val="575757"/>
                </a:solidFill>
              </a:rPr>
              <a:t>We can identify the best age segment to target given a specific subtrade.</a:t>
            </a:r>
          </a:p>
          <a:p>
            <a:pPr marL="285750" indent="-285750">
              <a:buFontTx/>
              <a:buChar char="-"/>
            </a:pPr>
            <a:r>
              <a:rPr lang="en-US" sz="1600" dirty="0">
                <a:solidFill>
                  <a:srgbClr val="575757"/>
                </a:solidFill>
              </a:rPr>
              <a:t>For example, Canada/ New England has a population heavily skewed towards the elderly.</a:t>
            </a:r>
          </a:p>
          <a:p>
            <a:pPr marL="285750" indent="-285750">
              <a:buFontTx/>
              <a:buChar char="-"/>
            </a:pPr>
            <a:r>
              <a:rPr lang="en-US" sz="1600" dirty="0">
                <a:solidFill>
                  <a:srgbClr val="575757"/>
                </a:solidFill>
              </a:rPr>
              <a:t>Strategy</a:t>
            </a:r>
          </a:p>
        </p:txBody>
      </p:sp>
      <p:cxnSp>
        <p:nvCxnSpPr>
          <p:cNvPr id="15" name="Straight Connector 14">
            <a:extLst>
              <a:ext uri="{FF2B5EF4-FFF2-40B4-BE49-F238E27FC236}">
                <a16:creationId xmlns:a16="http://schemas.microsoft.com/office/drawing/2014/main" id="{7197D78D-2A8F-EC6A-BA18-B92CFECA5E05}"/>
              </a:ext>
            </a:extLst>
          </p:cNvPr>
          <p:cNvCxnSpPr>
            <a:cxnSpLocks/>
          </p:cNvCxnSpPr>
          <p:nvPr/>
        </p:nvCxnSpPr>
        <p:spPr>
          <a:xfrm>
            <a:off x="3927008" y="4271064"/>
            <a:ext cx="1427057" cy="0"/>
          </a:xfrm>
          <a:prstGeom prst="line">
            <a:avLst/>
          </a:prstGeom>
          <a:ln w="9525" cap="rnd">
            <a:solidFill>
              <a:schemeClr val="tx1">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22C1C717-0267-B740-F5DF-F5898429A491}"/>
              </a:ext>
            </a:extLst>
          </p:cNvPr>
          <p:cNvCxnSpPr>
            <a:cxnSpLocks/>
          </p:cNvCxnSpPr>
          <p:nvPr/>
        </p:nvCxnSpPr>
        <p:spPr>
          <a:xfrm>
            <a:off x="5354065" y="4279690"/>
            <a:ext cx="0" cy="1898192"/>
          </a:xfrm>
          <a:prstGeom prst="line">
            <a:avLst/>
          </a:prstGeom>
          <a:ln w="9525" cap="rnd">
            <a:solidFill>
              <a:schemeClr val="tx1">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0260664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ECC811-2C87-053E-7143-6B79AA0FFDAC}"/>
              </a:ext>
            </a:extLst>
          </p:cNvPr>
          <p:cNvSpPr>
            <a:spLocks noGrp="1"/>
          </p:cNvSpPr>
          <p:nvPr>
            <p:ph type="title"/>
          </p:nvPr>
        </p:nvSpPr>
        <p:spPr/>
        <p:txBody>
          <a:bodyPr/>
          <a:lstStyle/>
          <a:p>
            <a:r>
              <a:rPr lang="en-US" dirty="0"/>
              <a:t>Who to Target &amp; What to Target</a:t>
            </a:r>
          </a:p>
        </p:txBody>
      </p:sp>
      <p:sp>
        <p:nvSpPr>
          <p:cNvPr id="3" name="TextBox 2">
            <a:extLst>
              <a:ext uri="{FF2B5EF4-FFF2-40B4-BE49-F238E27FC236}">
                <a16:creationId xmlns:a16="http://schemas.microsoft.com/office/drawing/2014/main" id="{465BB4C6-6C18-6BA8-84D4-562A128F8566}"/>
              </a:ext>
            </a:extLst>
          </p:cNvPr>
          <p:cNvSpPr txBox="1"/>
          <p:nvPr/>
        </p:nvSpPr>
        <p:spPr>
          <a:xfrm>
            <a:off x="628800" y="153419"/>
            <a:ext cx="10085208" cy="594532"/>
          </a:xfrm>
          <a:prstGeom prst="rect">
            <a:avLst/>
          </a:prstGeom>
          <a:noFill/>
        </p:spPr>
        <p:txBody>
          <a:bodyPr wrap="square" lIns="0" tIns="0" rIns="144000" bIns="0" rtlCol="0" anchor="ctr">
            <a:noAutofit/>
          </a:bodyPr>
          <a:lstStyle/>
          <a:p>
            <a:pPr>
              <a:lnSpc>
                <a:spcPct val="90000"/>
              </a:lnSpc>
              <a:spcAft>
                <a:spcPts val="600"/>
              </a:spcAft>
            </a:pPr>
            <a:r>
              <a:rPr lang="en-US" sz="1400" i="1" dirty="0">
                <a:solidFill>
                  <a:schemeClr val="bg2">
                    <a:lumMod val="50000"/>
                  </a:schemeClr>
                </a:solidFill>
              </a:rPr>
              <a:t>Q: Given a particular subtrade, what kind of guests will be most interested?</a:t>
            </a:r>
          </a:p>
        </p:txBody>
      </p:sp>
      <p:sp>
        <p:nvSpPr>
          <p:cNvPr id="4" name="TextBox 3">
            <a:extLst>
              <a:ext uri="{FF2B5EF4-FFF2-40B4-BE49-F238E27FC236}">
                <a16:creationId xmlns:a16="http://schemas.microsoft.com/office/drawing/2014/main" id="{0140049A-3384-8FDD-DE06-A286A3E58E48}"/>
              </a:ext>
            </a:extLst>
          </p:cNvPr>
          <p:cNvSpPr txBox="1"/>
          <p:nvPr/>
        </p:nvSpPr>
        <p:spPr>
          <a:xfrm>
            <a:off x="607989" y="1217332"/>
            <a:ext cx="6551360" cy="584775"/>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r>
              <a:rPr lang="en-US" sz="1600" b="1" dirty="0">
                <a:solidFill>
                  <a:srgbClr val="575757"/>
                </a:solidFill>
              </a:rPr>
              <a:t>Subtrade</a:t>
            </a:r>
          </a:p>
          <a:p>
            <a:endParaRPr lang="en-US" sz="1600" dirty="0">
              <a:solidFill>
                <a:srgbClr val="575757"/>
              </a:solidFill>
            </a:endParaRPr>
          </a:p>
        </p:txBody>
      </p:sp>
      <p:sp>
        <p:nvSpPr>
          <p:cNvPr id="11" name="TextBox 10">
            <a:extLst>
              <a:ext uri="{FF2B5EF4-FFF2-40B4-BE49-F238E27FC236}">
                <a16:creationId xmlns:a16="http://schemas.microsoft.com/office/drawing/2014/main" id="{E390BA0B-FE06-D41E-D682-55AC6835C0EE}"/>
              </a:ext>
            </a:extLst>
          </p:cNvPr>
          <p:cNvSpPr txBox="1"/>
          <p:nvPr/>
        </p:nvSpPr>
        <p:spPr>
          <a:xfrm>
            <a:off x="7615081" y="871109"/>
            <a:ext cx="5426557" cy="594532"/>
          </a:xfrm>
          <a:prstGeom prst="rect">
            <a:avLst/>
          </a:prstGeom>
          <a:noFill/>
        </p:spPr>
        <p:txBody>
          <a:bodyPr wrap="square" lIns="0" tIns="0" rIns="144000" bIns="0" rtlCol="0" anchor="ctr">
            <a:noAutofit/>
          </a:bodyPr>
          <a:lstStyle/>
          <a:p>
            <a:pPr>
              <a:lnSpc>
                <a:spcPct val="90000"/>
              </a:lnSpc>
              <a:spcAft>
                <a:spcPts val="600"/>
              </a:spcAft>
            </a:pPr>
            <a:r>
              <a:rPr lang="en-US" sz="1400" i="1" dirty="0">
                <a:solidFill>
                  <a:schemeClr val="bg2">
                    <a:lumMod val="50000"/>
                  </a:schemeClr>
                </a:solidFill>
              </a:rPr>
              <a:t>Distribution of Mosaic Group for Each Subtrade</a:t>
            </a:r>
          </a:p>
        </p:txBody>
      </p:sp>
      <p:sp>
        <p:nvSpPr>
          <p:cNvPr id="12" name="TextBox 11">
            <a:extLst>
              <a:ext uri="{FF2B5EF4-FFF2-40B4-BE49-F238E27FC236}">
                <a16:creationId xmlns:a16="http://schemas.microsoft.com/office/drawing/2014/main" id="{52042E96-C9DE-6808-BC1B-52439BBFEEE8}"/>
              </a:ext>
            </a:extLst>
          </p:cNvPr>
          <p:cNvSpPr txBox="1"/>
          <p:nvPr/>
        </p:nvSpPr>
        <p:spPr>
          <a:xfrm>
            <a:off x="5876055" y="5775205"/>
            <a:ext cx="774337" cy="594532"/>
          </a:xfrm>
          <a:prstGeom prst="rect">
            <a:avLst/>
          </a:prstGeom>
          <a:noFill/>
        </p:spPr>
        <p:txBody>
          <a:bodyPr wrap="square" lIns="0" tIns="0" rIns="144000" bIns="0" rtlCol="0" anchor="ctr">
            <a:noAutofit/>
          </a:bodyPr>
          <a:lstStyle/>
          <a:p>
            <a:pPr>
              <a:lnSpc>
                <a:spcPct val="90000"/>
              </a:lnSpc>
              <a:spcAft>
                <a:spcPts val="600"/>
              </a:spcAft>
            </a:pPr>
            <a:r>
              <a:rPr lang="en-US" sz="1400" i="1" dirty="0">
                <a:solidFill>
                  <a:schemeClr val="bg2">
                    <a:lumMod val="50000"/>
                  </a:schemeClr>
                </a:solidFill>
              </a:rPr>
              <a:t>Average</a:t>
            </a:r>
          </a:p>
        </p:txBody>
      </p:sp>
      <p:sp>
        <p:nvSpPr>
          <p:cNvPr id="13" name="TextBox 12">
            <a:extLst>
              <a:ext uri="{FF2B5EF4-FFF2-40B4-BE49-F238E27FC236}">
                <a16:creationId xmlns:a16="http://schemas.microsoft.com/office/drawing/2014/main" id="{819157CC-86E0-1C5F-3A52-BCA65D33971B}"/>
              </a:ext>
            </a:extLst>
          </p:cNvPr>
          <p:cNvSpPr txBox="1"/>
          <p:nvPr/>
        </p:nvSpPr>
        <p:spPr>
          <a:xfrm>
            <a:off x="2509564" y="4073568"/>
            <a:ext cx="2910759" cy="2308324"/>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r>
              <a:rPr lang="en-US" sz="1600" b="1" dirty="0">
                <a:solidFill>
                  <a:srgbClr val="575757"/>
                </a:solidFill>
              </a:rPr>
              <a:t>Insights from the upper/left charts:</a:t>
            </a:r>
          </a:p>
          <a:p>
            <a:r>
              <a:rPr lang="en-US" sz="1600" dirty="0">
                <a:solidFill>
                  <a:srgbClr val="575757"/>
                </a:solidFill>
              </a:rPr>
              <a:t>The weekly HH income distribution across subtrades does not differ much. </a:t>
            </a:r>
          </a:p>
          <a:p>
            <a:pPr marL="285750" indent="-285750">
              <a:buFontTx/>
              <a:buChar char="-"/>
            </a:pPr>
            <a:r>
              <a:rPr lang="en-US" sz="1600" dirty="0">
                <a:solidFill>
                  <a:srgbClr val="575757"/>
                </a:solidFill>
              </a:rPr>
              <a:t>Alaska RT YVR has the lowest median income while Greenland has the highest.</a:t>
            </a:r>
          </a:p>
          <a:p>
            <a:pPr marL="285750" indent="-285750">
              <a:buFontTx/>
              <a:buChar char="-"/>
            </a:pPr>
            <a:endParaRPr lang="en-US" sz="1600" dirty="0">
              <a:solidFill>
                <a:srgbClr val="575757"/>
              </a:solidFill>
            </a:endParaRPr>
          </a:p>
        </p:txBody>
      </p:sp>
      <p:sp>
        <p:nvSpPr>
          <p:cNvPr id="14" name="TextBox 13">
            <a:extLst>
              <a:ext uri="{FF2B5EF4-FFF2-40B4-BE49-F238E27FC236}">
                <a16:creationId xmlns:a16="http://schemas.microsoft.com/office/drawing/2014/main" id="{B7306838-A057-C0CD-B387-1DB022D67C05}"/>
              </a:ext>
            </a:extLst>
          </p:cNvPr>
          <p:cNvSpPr txBox="1"/>
          <p:nvPr/>
        </p:nvSpPr>
        <p:spPr>
          <a:xfrm>
            <a:off x="5367794" y="1696944"/>
            <a:ext cx="1832044" cy="2308324"/>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r>
              <a:rPr lang="en-US" sz="1600" b="1" dirty="0">
                <a:solidFill>
                  <a:srgbClr val="575757"/>
                </a:solidFill>
              </a:rPr>
              <a:t>Insights:</a:t>
            </a:r>
          </a:p>
          <a:p>
            <a:r>
              <a:rPr lang="en-US" sz="1600" dirty="0">
                <a:solidFill>
                  <a:srgbClr val="575757"/>
                </a:solidFill>
              </a:rPr>
              <a:t>Strategy:</a:t>
            </a:r>
          </a:p>
          <a:p>
            <a:pPr marL="285750" indent="-285750">
              <a:buFontTx/>
              <a:buChar char="-"/>
            </a:pPr>
            <a:r>
              <a:rPr lang="en-US" sz="1600" dirty="0">
                <a:solidFill>
                  <a:srgbClr val="575757"/>
                </a:solidFill>
              </a:rPr>
              <a:t>Identify the best mosaic groups to target given a specific subtrade.</a:t>
            </a:r>
          </a:p>
          <a:p>
            <a:endParaRPr lang="en-US" sz="1600" dirty="0">
              <a:solidFill>
                <a:srgbClr val="575757"/>
              </a:solidFill>
            </a:endParaRPr>
          </a:p>
        </p:txBody>
      </p:sp>
      <p:pic>
        <p:nvPicPr>
          <p:cNvPr id="7" name="Picture 6">
            <a:extLst>
              <a:ext uri="{FF2B5EF4-FFF2-40B4-BE49-F238E27FC236}">
                <a16:creationId xmlns:a16="http://schemas.microsoft.com/office/drawing/2014/main" id="{E341465D-95E6-9149-A43A-D336042986B5}"/>
              </a:ext>
            </a:extLst>
          </p:cNvPr>
          <p:cNvPicPr>
            <a:picLocks noChangeAspect="1"/>
          </p:cNvPicPr>
          <p:nvPr/>
        </p:nvPicPr>
        <p:blipFill>
          <a:blip r:embed="rId2"/>
          <a:stretch>
            <a:fillRect/>
          </a:stretch>
        </p:blipFill>
        <p:spPr>
          <a:xfrm>
            <a:off x="7106124" y="1408952"/>
            <a:ext cx="4743694" cy="4826248"/>
          </a:xfrm>
          <a:prstGeom prst="rect">
            <a:avLst/>
          </a:prstGeom>
        </p:spPr>
      </p:pic>
      <p:pic>
        <p:nvPicPr>
          <p:cNvPr id="15" name="Picture 14">
            <a:extLst>
              <a:ext uri="{FF2B5EF4-FFF2-40B4-BE49-F238E27FC236}">
                <a16:creationId xmlns:a16="http://schemas.microsoft.com/office/drawing/2014/main" id="{0577F968-D994-B6D2-B8F6-9975173E9736}"/>
              </a:ext>
            </a:extLst>
          </p:cNvPr>
          <p:cNvPicPr>
            <a:picLocks noChangeAspect="1"/>
          </p:cNvPicPr>
          <p:nvPr/>
        </p:nvPicPr>
        <p:blipFill>
          <a:blip r:embed="rId3"/>
          <a:stretch>
            <a:fillRect/>
          </a:stretch>
        </p:blipFill>
        <p:spPr>
          <a:xfrm>
            <a:off x="5686461" y="4702009"/>
            <a:ext cx="1174810" cy="1200212"/>
          </a:xfrm>
          <a:prstGeom prst="rect">
            <a:avLst/>
          </a:prstGeom>
        </p:spPr>
      </p:pic>
      <p:pic>
        <p:nvPicPr>
          <p:cNvPr id="17" name="Picture 16">
            <a:extLst>
              <a:ext uri="{FF2B5EF4-FFF2-40B4-BE49-F238E27FC236}">
                <a16:creationId xmlns:a16="http://schemas.microsoft.com/office/drawing/2014/main" id="{4D5A5FA6-FCFC-7999-4195-86A790A07C94}"/>
              </a:ext>
            </a:extLst>
          </p:cNvPr>
          <p:cNvPicPr>
            <a:picLocks noChangeAspect="1"/>
          </p:cNvPicPr>
          <p:nvPr/>
        </p:nvPicPr>
        <p:blipFill rotWithShape="1">
          <a:blip r:embed="rId4"/>
          <a:srcRect l="907" r="-1"/>
          <a:stretch/>
        </p:blipFill>
        <p:spPr>
          <a:xfrm>
            <a:off x="628800" y="1693819"/>
            <a:ext cx="4564302" cy="2235315"/>
          </a:xfrm>
          <a:prstGeom prst="rect">
            <a:avLst/>
          </a:prstGeom>
        </p:spPr>
      </p:pic>
      <p:pic>
        <p:nvPicPr>
          <p:cNvPr id="21" name="Picture 20">
            <a:extLst>
              <a:ext uri="{FF2B5EF4-FFF2-40B4-BE49-F238E27FC236}">
                <a16:creationId xmlns:a16="http://schemas.microsoft.com/office/drawing/2014/main" id="{2DA60914-ADD7-73C9-7E45-9DB3AE18EF27}"/>
              </a:ext>
            </a:extLst>
          </p:cNvPr>
          <p:cNvPicPr>
            <a:picLocks noChangeAspect="1"/>
          </p:cNvPicPr>
          <p:nvPr/>
        </p:nvPicPr>
        <p:blipFill>
          <a:blip r:embed="rId5"/>
          <a:stretch>
            <a:fillRect/>
          </a:stretch>
        </p:blipFill>
        <p:spPr>
          <a:xfrm>
            <a:off x="607989" y="3802036"/>
            <a:ext cx="1886047" cy="2724290"/>
          </a:xfrm>
          <a:prstGeom prst="rect">
            <a:avLst/>
          </a:prstGeom>
        </p:spPr>
      </p:pic>
      <p:cxnSp>
        <p:nvCxnSpPr>
          <p:cNvPr id="22" name="Straight Connector 21">
            <a:extLst>
              <a:ext uri="{FF2B5EF4-FFF2-40B4-BE49-F238E27FC236}">
                <a16:creationId xmlns:a16="http://schemas.microsoft.com/office/drawing/2014/main" id="{F8273F45-7661-F46B-5EC3-4D72264829FD}"/>
              </a:ext>
            </a:extLst>
          </p:cNvPr>
          <p:cNvCxnSpPr>
            <a:cxnSpLocks/>
          </p:cNvCxnSpPr>
          <p:nvPr/>
        </p:nvCxnSpPr>
        <p:spPr>
          <a:xfrm>
            <a:off x="5193102" y="3933249"/>
            <a:ext cx="273107" cy="0"/>
          </a:xfrm>
          <a:prstGeom prst="line">
            <a:avLst/>
          </a:prstGeom>
          <a:ln w="9525" cap="rnd">
            <a:solidFill>
              <a:schemeClr val="tx1">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2ECF177E-7B1B-9A9C-E479-C30C0B9D6044}"/>
              </a:ext>
            </a:extLst>
          </p:cNvPr>
          <p:cNvCxnSpPr>
            <a:cxnSpLocks/>
          </p:cNvCxnSpPr>
          <p:nvPr/>
        </p:nvCxnSpPr>
        <p:spPr>
          <a:xfrm>
            <a:off x="5451890" y="3959960"/>
            <a:ext cx="0" cy="2283866"/>
          </a:xfrm>
          <a:prstGeom prst="line">
            <a:avLst/>
          </a:prstGeom>
          <a:ln w="9525" cap="rnd">
            <a:solidFill>
              <a:schemeClr val="tx1">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8754347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ECC811-2C87-053E-7143-6B79AA0FFDAC}"/>
              </a:ext>
            </a:extLst>
          </p:cNvPr>
          <p:cNvSpPr>
            <a:spLocks noGrp="1"/>
          </p:cNvSpPr>
          <p:nvPr>
            <p:ph type="title"/>
          </p:nvPr>
        </p:nvSpPr>
        <p:spPr/>
        <p:txBody>
          <a:bodyPr/>
          <a:lstStyle/>
          <a:p>
            <a:r>
              <a:rPr lang="en-US" dirty="0"/>
              <a:t>Who to Target &amp; What to Target</a:t>
            </a:r>
          </a:p>
        </p:txBody>
      </p:sp>
      <p:sp>
        <p:nvSpPr>
          <p:cNvPr id="3" name="TextBox 2">
            <a:extLst>
              <a:ext uri="{FF2B5EF4-FFF2-40B4-BE49-F238E27FC236}">
                <a16:creationId xmlns:a16="http://schemas.microsoft.com/office/drawing/2014/main" id="{465BB4C6-6C18-6BA8-84D4-562A128F8566}"/>
              </a:ext>
            </a:extLst>
          </p:cNvPr>
          <p:cNvSpPr txBox="1"/>
          <p:nvPr/>
        </p:nvSpPr>
        <p:spPr>
          <a:xfrm>
            <a:off x="628800" y="153419"/>
            <a:ext cx="10085208" cy="594532"/>
          </a:xfrm>
          <a:prstGeom prst="rect">
            <a:avLst/>
          </a:prstGeom>
          <a:noFill/>
        </p:spPr>
        <p:txBody>
          <a:bodyPr wrap="square" lIns="0" tIns="0" rIns="144000" bIns="0" rtlCol="0" anchor="ctr">
            <a:noAutofit/>
          </a:bodyPr>
          <a:lstStyle/>
          <a:p>
            <a:pPr>
              <a:lnSpc>
                <a:spcPct val="90000"/>
              </a:lnSpc>
              <a:spcAft>
                <a:spcPts val="600"/>
              </a:spcAft>
            </a:pPr>
            <a:r>
              <a:rPr lang="en-US" sz="1400" i="1" dirty="0">
                <a:solidFill>
                  <a:schemeClr val="bg2">
                    <a:lumMod val="50000"/>
                  </a:schemeClr>
                </a:solidFill>
              </a:rPr>
              <a:t>Q: Given a particular subtrade, what kind of guests will be most interested?</a:t>
            </a:r>
          </a:p>
        </p:txBody>
      </p:sp>
      <p:sp>
        <p:nvSpPr>
          <p:cNvPr id="4" name="TextBox 3">
            <a:extLst>
              <a:ext uri="{FF2B5EF4-FFF2-40B4-BE49-F238E27FC236}">
                <a16:creationId xmlns:a16="http://schemas.microsoft.com/office/drawing/2014/main" id="{0140049A-3384-8FDD-DE06-A286A3E58E48}"/>
              </a:ext>
            </a:extLst>
          </p:cNvPr>
          <p:cNvSpPr txBox="1"/>
          <p:nvPr/>
        </p:nvSpPr>
        <p:spPr>
          <a:xfrm>
            <a:off x="607989" y="1217332"/>
            <a:ext cx="6551360" cy="584775"/>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r>
              <a:rPr lang="en-US" sz="1600" b="1" dirty="0">
                <a:solidFill>
                  <a:srgbClr val="575757"/>
                </a:solidFill>
              </a:rPr>
              <a:t>Subtrade</a:t>
            </a:r>
          </a:p>
          <a:p>
            <a:endParaRPr lang="en-US" sz="1600" dirty="0">
              <a:solidFill>
                <a:srgbClr val="575757"/>
              </a:solidFill>
            </a:endParaRPr>
          </a:p>
        </p:txBody>
      </p:sp>
      <p:sp>
        <p:nvSpPr>
          <p:cNvPr id="11" name="TextBox 10">
            <a:extLst>
              <a:ext uri="{FF2B5EF4-FFF2-40B4-BE49-F238E27FC236}">
                <a16:creationId xmlns:a16="http://schemas.microsoft.com/office/drawing/2014/main" id="{E390BA0B-FE06-D41E-D682-55AC6835C0EE}"/>
              </a:ext>
            </a:extLst>
          </p:cNvPr>
          <p:cNvSpPr txBox="1"/>
          <p:nvPr/>
        </p:nvSpPr>
        <p:spPr>
          <a:xfrm>
            <a:off x="7615081" y="871109"/>
            <a:ext cx="5426557" cy="594532"/>
          </a:xfrm>
          <a:prstGeom prst="rect">
            <a:avLst/>
          </a:prstGeom>
          <a:noFill/>
        </p:spPr>
        <p:txBody>
          <a:bodyPr wrap="square" lIns="0" tIns="0" rIns="144000" bIns="0" rtlCol="0" anchor="ctr">
            <a:noAutofit/>
          </a:bodyPr>
          <a:lstStyle/>
          <a:p>
            <a:pPr>
              <a:lnSpc>
                <a:spcPct val="90000"/>
              </a:lnSpc>
              <a:spcAft>
                <a:spcPts val="600"/>
              </a:spcAft>
            </a:pPr>
            <a:r>
              <a:rPr lang="en-US" sz="1400" i="1" dirty="0">
                <a:solidFill>
                  <a:schemeClr val="bg2">
                    <a:lumMod val="50000"/>
                  </a:schemeClr>
                </a:solidFill>
              </a:rPr>
              <a:t>Distribution of Children Number for Each Subtrade</a:t>
            </a:r>
          </a:p>
        </p:txBody>
      </p:sp>
      <p:sp>
        <p:nvSpPr>
          <p:cNvPr id="12" name="TextBox 11">
            <a:extLst>
              <a:ext uri="{FF2B5EF4-FFF2-40B4-BE49-F238E27FC236}">
                <a16:creationId xmlns:a16="http://schemas.microsoft.com/office/drawing/2014/main" id="{52042E96-C9DE-6808-BC1B-52439BBFEEE8}"/>
              </a:ext>
            </a:extLst>
          </p:cNvPr>
          <p:cNvSpPr txBox="1"/>
          <p:nvPr/>
        </p:nvSpPr>
        <p:spPr>
          <a:xfrm>
            <a:off x="6531662" y="6110049"/>
            <a:ext cx="774337" cy="594532"/>
          </a:xfrm>
          <a:prstGeom prst="rect">
            <a:avLst/>
          </a:prstGeom>
          <a:noFill/>
        </p:spPr>
        <p:txBody>
          <a:bodyPr wrap="square" lIns="0" tIns="0" rIns="144000" bIns="0" rtlCol="0" anchor="ctr">
            <a:noAutofit/>
          </a:bodyPr>
          <a:lstStyle/>
          <a:p>
            <a:pPr>
              <a:lnSpc>
                <a:spcPct val="90000"/>
              </a:lnSpc>
              <a:spcAft>
                <a:spcPts val="600"/>
              </a:spcAft>
            </a:pPr>
            <a:r>
              <a:rPr lang="en-US" sz="1400" i="1" dirty="0">
                <a:solidFill>
                  <a:schemeClr val="bg2">
                    <a:lumMod val="50000"/>
                  </a:schemeClr>
                </a:solidFill>
              </a:rPr>
              <a:t>Average</a:t>
            </a:r>
          </a:p>
        </p:txBody>
      </p:sp>
      <p:sp>
        <p:nvSpPr>
          <p:cNvPr id="14" name="TextBox 13">
            <a:extLst>
              <a:ext uri="{FF2B5EF4-FFF2-40B4-BE49-F238E27FC236}">
                <a16:creationId xmlns:a16="http://schemas.microsoft.com/office/drawing/2014/main" id="{B7306838-A057-C0CD-B387-1DB022D67C05}"/>
              </a:ext>
            </a:extLst>
          </p:cNvPr>
          <p:cNvSpPr txBox="1"/>
          <p:nvPr/>
        </p:nvSpPr>
        <p:spPr>
          <a:xfrm>
            <a:off x="604662" y="1527585"/>
            <a:ext cx="6849836" cy="2554545"/>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r>
              <a:rPr lang="en-US" sz="1600" b="1">
                <a:solidFill>
                  <a:srgbClr val="575757"/>
                </a:solidFill>
              </a:rPr>
              <a:t>Insights from the right chart:</a:t>
            </a:r>
          </a:p>
          <a:p>
            <a:r>
              <a:rPr lang="en-US" sz="1600">
                <a:solidFill>
                  <a:srgbClr val="575757"/>
                </a:solidFill>
              </a:rPr>
              <a:t>The population on subtrades such as "British Isles", "Canada / New England", "Greenland" have fewer children than average (almost all adults). The population on other subtrades such as "Japan", "Alaska RT Seattle", "Norway Fjord" have more children than average. In particular,  "Norway Fjord" is the subtrade with the highest three children proportion.</a:t>
            </a:r>
          </a:p>
          <a:p>
            <a:r>
              <a:rPr lang="en-US" sz="1600">
                <a:solidFill>
                  <a:srgbClr val="575757"/>
                </a:solidFill>
              </a:rPr>
              <a:t>Strategy:</a:t>
            </a:r>
          </a:p>
          <a:p>
            <a:pPr marL="285750" indent="-285750">
              <a:buFontTx/>
              <a:buChar char="-"/>
            </a:pPr>
            <a:r>
              <a:rPr lang="en-US" sz="1600">
                <a:solidFill>
                  <a:srgbClr val="575757"/>
                </a:solidFill>
              </a:rPr>
              <a:t>Given a subtrade and its appealing to families with children, we can send customized emails/mails based on a family’s children number</a:t>
            </a:r>
            <a:endParaRPr lang="en-US" sz="1600" dirty="0">
              <a:solidFill>
                <a:srgbClr val="575757"/>
              </a:solidFill>
            </a:endParaRPr>
          </a:p>
        </p:txBody>
      </p:sp>
      <p:pic>
        <p:nvPicPr>
          <p:cNvPr id="6" name="Picture 5">
            <a:extLst>
              <a:ext uri="{FF2B5EF4-FFF2-40B4-BE49-F238E27FC236}">
                <a16:creationId xmlns:a16="http://schemas.microsoft.com/office/drawing/2014/main" id="{8111216D-C36D-F34A-9E59-AB873745FDBE}"/>
              </a:ext>
            </a:extLst>
          </p:cNvPr>
          <p:cNvPicPr>
            <a:picLocks noChangeAspect="1"/>
          </p:cNvPicPr>
          <p:nvPr/>
        </p:nvPicPr>
        <p:blipFill>
          <a:blip r:embed="rId2"/>
          <a:stretch>
            <a:fillRect/>
          </a:stretch>
        </p:blipFill>
        <p:spPr>
          <a:xfrm>
            <a:off x="7465976" y="1388912"/>
            <a:ext cx="4121362" cy="5137414"/>
          </a:xfrm>
          <a:prstGeom prst="rect">
            <a:avLst/>
          </a:prstGeom>
        </p:spPr>
      </p:pic>
      <p:pic>
        <p:nvPicPr>
          <p:cNvPr id="9" name="Picture 8">
            <a:extLst>
              <a:ext uri="{FF2B5EF4-FFF2-40B4-BE49-F238E27FC236}">
                <a16:creationId xmlns:a16="http://schemas.microsoft.com/office/drawing/2014/main" id="{65906215-45EC-0B06-ECA1-F2BC4AA27CDF}"/>
              </a:ext>
            </a:extLst>
          </p:cNvPr>
          <p:cNvPicPr>
            <a:picLocks noChangeAspect="1"/>
          </p:cNvPicPr>
          <p:nvPr/>
        </p:nvPicPr>
        <p:blipFill>
          <a:blip r:embed="rId3"/>
          <a:stretch>
            <a:fillRect/>
          </a:stretch>
        </p:blipFill>
        <p:spPr>
          <a:xfrm>
            <a:off x="6405604" y="5248042"/>
            <a:ext cx="984301" cy="965250"/>
          </a:xfrm>
          <a:prstGeom prst="rect">
            <a:avLst/>
          </a:prstGeom>
        </p:spPr>
      </p:pic>
      <p:pic>
        <p:nvPicPr>
          <p:cNvPr id="16" name="Picture 15">
            <a:extLst>
              <a:ext uri="{FF2B5EF4-FFF2-40B4-BE49-F238E27FC236}">
                <a16:creationId xmlns:a16="http://schemas.microsoft.com/office/drawing/2014/main" id="{5ECFF59B-0194-A309-CE78-3ECADB29717C}"/>
              </a:ext>
            </a:extLst>
          </p:cNvPr>
          <p:cNvPicPr>
            <a:picLocks noChangeAspect="1"/>
          </p:cNvPicPr>
          <p:nvPr/>
        </p:nvPicPr>
        <p:blipFill>
          <a:blip r:embed="rId4"/>
          <a:stretch>
            <a:fillRect/>
          </a:stretch>
        </p:blipFill>
        <p:spPr>
          <a:xfrm>
            <a:off x="628800" y="4120678"/>
            <a:ext cx="3600635" cy="2419474"/>
          </a:xfrm>
          <a:prstGeom prst="rect">
            <a:avLst/>
          </a:prstGeom>
        </p:spPr>
      </p:pic>
      <p:cxnSp>
        <p:nvCxnSpPr>
          <p:cNvPr id="18" name="Straight Connector 17">
            <a:extLst>
              <a:ext uri="{FF2B5EF4-FFF2-40B4-BE49-F238E27FC236}">
                <a16:creationId xmlns:a16="http://schemas.microsoft.com/office/drawing/2014/main" id="{605885D0-BF54-6007-360E-C41733167259}"/>
              </a:ext>
            </a:extLst>
          </p:cNvPr>
          <p:cNvCxnSpPr>
            <a:cxnSpLocks/>
          </p:cNvCxnSpPr>
          <p:nvPr/>
        </p:nvCxnSpPr>
        <p:spPr>
          <a:xfrm>
            <a:off x="4349702" y="4184800"/>
            <a:ext cx="2809647" cy="0"/>
          </a:xfrm>
          <a:prstGeom prst="line">
            <a:avLst/>
          </a:prstGeom>
          <a:ln w="9525" cap="rnd">
            <a:solidFill>
              <a:schemeClr val="tx1">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sp>
        <p:nvSpPr>
          <p:cNvPr id="22" name="TextBox 21">
            <a:extLst>
              <a:ext uri="{FF2B5EF4-FFF2-40B4-BE49-F238E27FC236}">
                <a16:creationId xmlns:a16="http://schemas.microsoft.com/office/drawing/2014/main" id="{AD314AEA-DAE5-4698-2343-B4821DCFCCBE}"/>
              </a:ext>
            </a:extLst>
          </p:cNvPr>
          <p:cNvSpPr txBox="1"/>
          <p:nvPr/>
        </p:nvSpPr>
        <p:spPr>
          <a:xfrm>
            <a:off x="4217324" y="4269438"/>
            <a:ext cx="3276833" cy="830997"/>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r>
              <a:rPr lang="en-US" sz="1600" b="1" dirty="0">
                <a:solidFill>
                  <a:srgbClr val="575757"/>
                </a:solidFill>
              </a:rPr>
              <a:t>Insights from the left chart:</a:t>
            </a:r>
          </a:p>
          <a:p>
            <a:r>
              <a:rPr lang="en-US" sz="1600" dirty="0">
                <a:solidFill>
                  <a:srgbClr val="575757"/>
                </a:solidFill>
              </a:rPr>
              <a:t>The choice of subtrades does not differ much for new/old guests.</a:t>
            </a:r>
          </a:p>
        </p:txBody>
      </p:sp>
      <p:sp>
        <p:nvSpPr>
          <p:cNvPr id="23" name="TextBox 22">
            <a:extLst>
              <a:ext uri="{FF2B5EF4-FFF2-40B4-BE49-F238E27FC236}">
                <a16:creationId xmlns:a16="http://schemas.microsoft.com/office/drawing/2014/main" id="{43F3E920-679F-0DED-6847-382DA4E37132}"/>
              </a:ext>
            </a:extLst>
          </p:cNvPr>
          <p:cNvSpPr txBox="1"/>
          <p:nvPr/>
        </p:nvSpPr>
        <p:spPr>
          <a:xfrm>
            <a:off x="4240913" y="5100435"/>
            <a:ext cx="2176169" cy="1077218"/>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marL="285750" indent="-285750">
              <a:buFontTx/>
              <a:buChar char="-"/>
            </a:pPr>
            <a:r>
              <a:rPr lang="en-US" sz="1600" dirty="0">
                <a:solidFill>
                  <a:srgbClr val="575757"/>
                </a:solidFill>
              </a:rPr>
              <a:t>There are some minor differences in “Coastal” and “Norway Fjord”.</a:t>
            </a:r>
          </a:p>
        </p:txBody>
      </p:sp>
    </p:spTree>
    <p:extLst>
      <p:ext uri="{BB962C8B-B14F-4D97-AF65-F5344CB8AC3E}">
        <p14:creationId xmlns:p14="http://schemas.microsoft.com/office/powerpoint/2010/main" val="231728930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ECC811-2C87-053E-7143-6B79AA0FFDAC}"/>
              </a:ext>
            </a:extLst>
          </p:cNvPr>
          <p:cNvSpPr>
            <a:spLocks noGrp="1"/>
          </p:cNvSpPr>
          <p:nvPr>
            <p:ph type="title"/>
          </p:nvPr>
        </p:nvSpPr>
        <p:spPr/>
        <p:txBody>
          <a:bodyPr/>
          <a:lstStyle/>
          <a:p>
            <a:r>
              <a:rPr lang="en-US" dirty="0"/>
              <a:t>Who to Target &amp; What to Target</a:t>
            </a:r>
          </a:p>
        </p:txBody>
      </p:sp>
      <p:sp>
        <p:nvSpPr>
          <p:cNvPr id="3" name="TextBox 2">
            <a:extLst>
              <a:ext uri="{FF2B5EF4-FFF2-40B4-BE49-F238E27FC236}">
                <a16:creationId xmlns:a16="http://schemas.microsoft.com/office/drawing/2014/main" id="{465BB4C6-6C18-6BA8-84D4-562A128F8566}"/>
              </a:ext>
            </a:extLst>
          </p:cNvPr>
          <p:cNvSpPr txBox="1"/>
          <p:nvPr/>
        </p:nvSpPr>
        <p:spPr>
          <a:xfrm>
            <a:off x="628800" y="153419"/>
            <a:ext cx="10085208" cy="594532"/>
          </a:xfrm>
          <a:prstGeom prst="rect">
            <a:avLst/>
          </a:prstGeom>
          <a:noFill/>
        </p:spPr>
        <p:txBody>
          <a:bodyPr wrap="square" lIns="0" tIns="0" rIns="144000" bIns="0" rtlCol="0" anchor="ctr">
            <a:noAutofit/>
          </a:bodyPr>
          <a:lstStyle/>
          <a:p>
            <a:pPr>
              <a:lnSpc>
                <a:spcPct val="90000"/>
              </a:lnSpc>
              <a:spcAft>
                <a:spcPts val="600"/>
              </a:spcAft>
            </a:pPr>
            <a:r>
              <a:rPr lang="en-US" sz="1400" i="1" dirty="0">
                <a:solidFill>
                  <a:schemeClr val="bg2">
                    <a:lumMod val="50000"/>
                  </a:schemeClr>
                </a:solidFill>
              </a:rPr>
              <a:t>Q: Given a particular cruise ship, what kind of guests will be most interested?</a:t>
            </a:r>
          </a:p>
        </p:txBody>
      </p:sp>
      <p:sp>
        <p:nvSpPr>
          <p:cNvPr id="4" name="TextBox 3">
            <a:extLst>
              <a:ext uri="{FF2B5EF4-FFF2-40B4-BE49-F238E27FC236}">
                <a16:creationId xmlns:a16="http://schemas.microsoft.com/office/drawing/2014/main" id="{0140049A-3384-8FDD-DE06-A286A3E58E48}"/>
              </a:ext>
            </a:extLst>
          </p:cNvPr>
          <p:cNvSpPr txBox="1"/>
          <p:nvPr/>
        </p:nvSpPr>
        <p:spPr>
          <a:xfrm>
            <a:off x="607989" y="1217332"/>
            <a:ext cx="6551360" cy="584775"/>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r>
              <a:rPr lang="en-US" sz="1600" b="1" dirty="0">
                <a:solidFill>
                  <a:srgbClr val="575757"/>
                </a:solidFill>
              </a:rPr>
              <a:t>Cruise Ship Name</a:t>
            </a:r>
          </a:p>
          <a:p>
            <a:endParaRPr lang="en-US" sz="1600" dirty="0">
              <a:solidFill>
                <a:srgbClr val="575757"/>
              </a:solidFill>
            </a:endParaRPr>
          </a:p>
        </p:txBody>
      </p:sp>
      <p:sp>
        <p:nvSpPr>
          <p:cNvPr id="11" name="TextBox 10">
            <a:extLst>
              <a:ext uri="{FF2B5EF4-FFF2-40B4-BE49-F238E27FC236}">
                <a16:creationId xmlns:a16="http://schemas.microsoft.com/office/drawing/2014/main" id="{E390BA0B-FE06-D41E-D682-55AC6835C0EE}"/>
              </a:ext>
            </a:extLst>
          </p:cNvPr>
          <p:cNvSpPr txBox="1"/>
          <p:nvPr/>
        </p:nvSpPr>
        <p:spPr>
          <a:xfrm>
            <a:off x="6980487" y="1423783"/>
            <a:ext cx="5426557" cy="594532"/>
          </a:xfrm>
          <a:prstGeom prst="rect">
            <a:avLst/>
          </a:prstGeom>
          <a:noFill/>
        </p:spPr>
        <p:txBody>
          <a:bodyPr wrap="square" lIns="0" tIns="0" rIns="144000" bIns="0" rtlCol="0" anchor="ctr">
            <a:noAutofit/>
          </a:bodyPr>
          <a:lstStyle/>
          <a:p>
            <a:pPr>
              <a:lnSpc>
                <a:spcPct val="90000"/>
              </a:lnSpc>
              <a:spcAft>
                <a:spcPts val="600"/>
              </a:spcAft>
            </a:pPr>
            <a:r>
              <a:rPr lang="en-US" sz="1400" i="1" dirty="0">
                <a:solidFill>
                  <a:schemeClr val="bg2">
                    <a:lumMod val="50000"/>
                  </a:schemeClr>
                </a:solidFill>
              </a:rPr>
              <a:t>Distribution of Children Number for Each Cruise Ship</a:t>
            </a:r>
          </a:p>
        </p:txBody>
      </p:sp>
      <p:sp>
        <p:nvSpPr>
          <p:cNvPr id="12" name="TextBox 11">
            <a:extLst>
              <a:ext uri="{FF2B5EF4-FFF2-40B4-BE49-F238E27FC236}">
                <a16:creationId xmlns:a16="http://schemas.microsoft.com/office/drawing/2014/main" id="{52042E96-C9DE-6808-BC1B-52439BBFEEE8}"/>
              </a:ext>
            </a:extLst>
          </p:cNvPr>
          <p:cNvSpPr txBox="1"/>
          <p:nvPr/>
        </p:nvSpPr>
        <p:spPr>
          <a:xfrm>
            <a:off x="10832627" y="5937934"/>
            <a:ext cx="774337" cy="594532"/>
          </a:xfrm>
          <a:prstGeom prst="rect">
            <a:avLst/>
          </a:prstGeom>
          <a:noFill/>
        </p:spPr>
        <p:txBody>
          <a:bodyPr wrap="square" lIns="0" tIns="0" rIns="144000" bIns="0" rtlCol="0" anchor="ctr">
            <a:noAutofit/>
          </a:bodyPr>
          <a:lstStyle/>
          <a:p>
            <a:pPr>
              <a:lnSpc>
                <a:spcPct val="90000"/>
              </a:lnSpc>
              <a:spcAft>
                <a:spcPts val="600"/>
              </a:spcAft>
            </a:pPr>
            <a:r>
              <a:rPr lang="en-US" sz="1400" i="1" dirty="0">
                <a:solidFill>
                  <a:schemeClr val="bg2">
                    <a:lumMod val="50000"/>
                  </a:schemeClr>
                </a:solidFill>
              </a:rPr>
              <a:t>Average</a:t>
            </a:r>
          </a:p>
        </p:txBody>
      </p:sp>
      <p:sp>
        <p:nvSpPr>
          <p:cNvPr id="14" name="TextBox 13">
            <a:extLst>
              <a:ext uri="{FF2B5EF4-FFF2-40B4-BE49-F238E27FC236}">
                <a16:creationId xmlns:a16="http://schemas.microsoft.com/office/drawing/2014/main" id="{B7306838-A057-C0CD-B387-1DB022D67C05}"/>
              </a:ext>
            </a:extLst>
          </p:cNvPr>
          <p:cNvSpPr txBox="1"/>
          <p:nvPr/>
        </p:nvSpPr>
        <p:spPr>
          <a:xfrm>
            <a:off x="6239318" y="4579690"/>
            <a:ext cx="4474690" cy="2062103"/>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r>
              <a:rPr lang="en-US" sz="1600" b="1" dirty="0">
                <a:solidFill>
                  <a:srgbClr val="575757"/>
                </a:solidFill>
              </a:rPr>
              <a:t>Insights:</a:t>
            </a:r>
          </a:p>
          <a:p>
            <a:r>
              <a:rPr lang="en-US" sz="1600" dirty="0">
                <a:solidFill>
                  <a:srgbClr val="575757"/>
                </a:solidFill>
              </a:rPr>
              <a:t>Some ships, such as "Prinsendam" and "</a:t>
            </a:r>
            <a:r>
              <a:rPr lang="en-US" sz="1600" dirty="0" err="1">
                <a:solidFill>
                  <a:srgbClr val="575757"/>
                </a:solidFill>
              </a:rPr>
              <a:t>Veendam</a:t>
            </a:r>
            <a:r>
              <a:rPr lang="en-US" sz="1600" dirty="0">
                <a:solidFill>
                  <a:srgbClr val="575757"/>
                </a:solidFill>
              </a:rPr>
              <a:t>", have higher adult population, while others, such as "</a:t>
            </a:r>
            <a:r>
              <a:rPr lang="en-US" sz="1600" dirty="0" err="1">
                <a:solidFill>
                  <a:srgbClr val="575757"/>
                </a:solidFill>
              </a:rPr>
              <a:t>Nieuw</a:t>
            </a:r>
            <a:r>
              <a:rPr lang="en-US" sz="1600" dirty="0">
                <a:solidFill>
                  <a:srgbClr val="575757"/>
                </a:solidFill>
              </a:rPr>
              <a:t> Statendam" and "</a:t>
            </a:r>
            <a:r>
              <a:rPr lang="en-US" sz="1600" dirty="0" err="1">
                <a:solidFill>
                  <a:srgbClr val="575757"/>
                </a:solidFill>
              </a:rPr>
              <a:t>Eurodam</a:t>
            </a:r>
            <a:r>
              <a:rPr lang="en-US" sz="1600" dirty="0">
                <a:solidFill>
                  <a:srgbClr val="575757"/>
                </a:solidFill>
              </a:rPr>
              <a:t>", have higher children population compared to average. </a:t>
            </a:r>
          </a:p>
          <a:p>
            <a:pPr marL="285750" indent="-285750">
              <a:buFontTx/>
              <a:buChar char="-"/>
            </a:pPr>
            <a:r>
              <a:rPr lang="en-US" sz="1600" dirty="0">
                <a:solidFill>
                  <a:srgbClr val="575757"/>
                </a:solidFill>
              </a:rPr>
              <a:t>Strategy: Send emails/mails based on a ship’s attractiveness to children.</a:t>
            </a:r>
          </a:p>
        </p:txBody>
      </p:sp>
      <p:cxnSp>
        <p:nvCxnSpPr>
          <p:cNvPr id="18" name="Straight Connector 17">
            <a:extLst>
              <a:ext uri="{FF2B5EF4-FFF2-40B4-BE49-F238E27FC236}">
                <a16:creationId xmlns:a16="http://schemas.microsoft.com/office/drawing/2014/main" id="{605885D0-BF54-6007-360E-C41733167259}"/>
              </a:ext>
            </a:extLst>
          </p:cNvPr>
          <p:cNvCxnSpPr>
            <a:cxnSpLocks/>
          </p:cNvCxnSpPr>
          <p:nvPr/>
        </p:nvCxnSpPr>
        <p:spPr>
          <a:xfrm>
            <a:off x="4349702" y="4184800"/>
            <a:ext cx="2809647" cy="0"/>
          </a:xfrm>
          <a:prstGeom prst="line">
            <a:avLst/>
          </a:prstGeom>
          <a:ln w="9525" cap="rnd">
            <a:solidFill>
              <a:schemeClr val="tx1">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pic>
        <p:nvPicPr>
          <p:cNvPr id="7" name="Picture 6">
            <a:extLst>
              <a:ext uri="{FF2B5EF4-FFF2-40B4-BE49-F238E27FC236}">
                <a16:creationId xmlns:a16="http://schemas.microsoft.com/office/drawing/2014/main" id="{E3E47AEA-00B1-9BCF-08CC-5806489D931B}"/>
              </a:ext>
            </a:extLst>
          </p:cNvPr>
          <p:cNvPicPr>
            <a:picLocks noChangeAspect="1"/>
          </p:cNvPicPr>
          <p:nvPr/>
        </p:nvPicPr>
        <p:blipFill rotWithShape="1">
          <a:blip r:embed="rId2"/>
          <a:srcRect t="3235" r="1292"/>
          <a:stretch/>
        </p:blipFill>
        <p:spPr>
          <a:xfrm>
            <a:off x="763332" y="1852342"/>
            <a:ext cx="4908072" cy="2673487"/>
          </a:xfrm>
          <a:prstGeom prst="rect">
            <a:avLst/>
          </a:prstGeom>
        </p:spPr>
      </p:pic>
      <p:pic>
        <p:nvPicPr>
          <p:cNvPr id="10" name="Picture 9">
            <a:extLst>
              <a:ext uri="{FF2B5EF4-FFF2-40B4-BE49-F238E27FC236}">
                <a16:creationId xmlns:a16="http://schemas.microsoft.com/office/drawing/2014/main" id="{DE11F5B4-6D90-3BA3-F8AA-04BD05DCDB52}"/>
              </a:ext>
            </a:extLst>
          </p:cNvPr>
          <p:cNvPicPr>
            <a:picLocks noChangeAspect="1"/>
          </p:cNvPicPr>
          <p:nvPr/>
        </p:nvPicPr>
        <p:blipFill>
          <a:blip r:embed="rId3"/>
          <a:stretch>
            <a:fillRect/>
          </a:stretch>
        </p:blipFill>
        <p:spPr>
          <a:xfrm>
            <a:off x="6279059" y="1852342"/>
            <a:ext cx="5571365" cy="2673487"/>
          </a:xfrm>
          <a:prstGeom prst="rect">
            <a:avLst/>
          </a:prstGeom>
        </p:spPr>
      </p:pic>
      <p:sp>
        <p:nvSpPr>
          <p:cNvPr id="13" name="TextBox 12">
            <a:extLst>
              <a:ext uri="{FF2B5EF4-FFF2-40B4-BE49-F238E27FC236}">
                <a16:creationId xmlns:a16="http://schemas.microsoft.com/office/drawing/2014/main" id="{7E5CF71C-67CE-9B1E-F245-9B8F723C307F}"/>
              </a:ext>
            </a:extLst>
          </p:cNvPr>
          <p:cNvSpPr txBox="1"/>
          <p:nvPr/>
        </p:nvSpPr>
        <p:spPr>
          <a:xfrm>
            <a:off x="1553930" y="1436244"/>
            <a:ext cx="5426557" cy="594532"/>
          </a:xfrm>
          <a:prstGeom prst="rect">
            <a:avLst/>
          </a:prstGeom>
          <a:noFill/>
        </p:spPr>
        <p:txBody>
          <a:bodyPr wrap="square" lIns="0" tIns="0" rIns="144000" bIns="0" rtlCol="0" anchor="ctr">
            <a:noAutofit/>
          </a:bodyPr>
          <a:lstStyle/>
          <a:p>
            <a:pPr>
              <a:lnSpc>
                <a:spcPct val="90000"/>
              </a:lnSpc>
              <a:spcAft>
                <a:spcPts val="600"/>
              </a:spcAft>
            </a:pPr>
            <a:r>
              <a:rPr lang="en-US" sz="1400" i="1" dirty="0">
                <a:solidFill>
                  <a:schemeClr val="bg2">
                    <a:lumMod val="50000"/>
                  </a:schemeClr>
                </a:solidFill>
              </a:rPr>
              <a:t>Distribution of Age for Each Cruise Ship</a:t>
            </a:r>
          </a:p>
        </p:txBody>
      </p:sp>
      <p:pic>
        <p:nvPicPr>
          <p:cNvPr id="17" name="Picture 16">
            <a:extLst>
              <a:ext uri="{FF2B5EF4-FFF2-40B4-BE49-F238E27FC236}">
                <a16:creationId xmlns:a16="http://schemas.microsoft.com/office/drawing/2014/main" id="{4071627F-D352-A964-9CF1-8DCAE0B35536}"/>
              </a:ext>
            </a:extLst>
          </p:cNvPr>
          <p:cNvPicPr>
            <a:picLocks noChangeAspect="1"/>
          </p:cNvPicPr>
          <p:nvPr/>
        </p:nvPicPr>
        <p:blipFill>
          <a:blip r:embed="rId4"/>
          <a:stretch>
            <a:fillRect/>
          </a:stretch>
        </p:blipFill>
        <p:spPr>
          <a:xfrm>
            <a:off x="10510506" y="4671829"/>
            <a:ext cx="1339919" cy="1327218"/>
          </a:xfrm>
          <a:prstGeom prst="rect">
            <a:avLst/>
          </a:prstGeom>
        </p:spPr>
      </p:pic>
      <p:sp>
        <p:nvSpPr>
          <p:cNvPr id="19" name="TextBox 18">
            <a:extLst>
              <a:ext uri="{FF2B5EF4-FFF2-40B4-BE49-F238E27FC236}">
                <a16:creationId xmlns:a16="http://schemas.microsoft.com/office/drawing/2014/main" id="{B67231DE-7B9C-93F8-948D-E07861ED810F}"/>
              </a:ext>
            </a:extLst>
          </p:cNvPr>
          <p:cNvSpPr txBox="1"/>
          <p:nvPr/>
        </p:nvSpPr>
        <p:spPr>
          <a:xfrm>
            <a:off x="763332" y="4630211"/>
            <a:ext cx="5189351" cy="2062103"/>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r>
              <a:rPr lang="en-US" sz="1600" b="1" dirty="0">
                <a:solidFill>
                  <a:srgbClr val="575757"/>
                </a:solidFill>
              </a:rPr>
              <a:t>Insights:</a:t>
            </a:r>
          </a:p>
          <a:p>
            <a:r>
              <a:rPr lang="en-US" sz="1600" dirty="0">
                <a:solidFill>
                  <a:srgbClr val="575757"/>
                </a:solidFill>
              </a:rPr>
              <a:t>Compared to average, the population of some ships (e.g. </a:t>
            </a:r>
            <a:r>
              <a:rPr lang="en-US" sz="1600" dirty="0" err="1">
                <a:solidFill>
                  <a:srgbClr val="575757"/>
                </a:solidFill>
              </a:rPr>
              <a:t>Nieuw</a:t>
            </a:r>
            <a:r>
              <a:rPr lang="en-US" sz="1600" dirty="0">
                <a:solidFill>
                  <a:srgbClr val="575757"/>
                </a:solidFill>
              </a:rPr>
              <a:t> Statendam, </a:t>
            </a:r>
            <a:r>
              <a:rPr lang="en-US" sz="1600" dirty="0" err="1">
                <a:solidFill>
                  <a:srgbClr val="575757"/>
                </a:solidFill>
              </a:rPr>
              <a:t>Eurodam</a:t>
            </a:r>
            <a:r>
              <a:rPr lang="en-US" sz="1600" dirty="0">
                <a:solidFill>
                  <a:srgbClr val="575757"/>
                </a:solidFill>
              </a:rPr>
              <a:t>, </a:t>
            </a:r>
            <a:r>
              <a:rPr lang="en-US" sz="1600" dirty="0" err="1">
                <a:solidFill>
                  <a:srgbClr val="575757"/>
                </a:solidFill>
              </a:rPr>
              <a:t>Koningsdam</a:t>
            </a:r>
            <a:r>
              <a:rPr lang="en-US" sz="1600" dirty="0">
                <a:solidFill>
                  <a:srgbClr val="575757"/>
                </a:solidFill>
              </a:rPr>
              <a:t>) are skewed towards the younger population while others (e.g. </a:t>
            </a:r>
            <a:r>
              <a:rPr lang="en-US" sz="1600" dirty="0" err="1">
                <a:solidFill>
                  <a:srgbClr val="575757"/>
                </a:solidFill>
              </a:rPr>
              <a:t>Veendam</a:t>
            </a:r>
            <a:r>
              <a:rPr lang="en-US" sz="1600" dirty="0">
                <a:solidFill>
                  <a:srgbClr val="575757"/>
                </a:solidFill>
              </a:rPr>
              <a:t>, Zaandam, Prinsendam) are skewed towards the older.</a:t>
            </a:r>
          </a:p>
          <a:p>
            <a:pPr marL="285750" indent="-285750">
              <a:buFontTx/>
              <a:buChar char="-"/>
            </a:pPr>
            <a:r>
              <a:rPr lang="en-US" sz="1600" dirty="0">
                <a:solidFill>
                  <a:srgbClr val="575757"/>
                </a:solidFill>
              </a:rPr>
              <a:t>Strategy: Contact guests based on a ship’s attractiveness to younger/older population</a:t>
            </a:r>
          </a:p>
        </p:txBody>
      </p:sp>
    </p:spTree>
    <p:extLst>
      <p:ext uri="{BB962C8B-B14F-4D97-AF65-F5344CB8AC3E}">
        <p14:creationId xmlns:p14="http://schemas.microsoft.com/office/powerpoint/2010/main" val="28445313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ECC811-2C87-053E-7143-6B79AA0FFDAC}"/>
              </a:ext>
            </a:extLst>
          </p:cNvPr>
          <p:cNvSpPr>
            <a:spLocks noGrp="1"/>
          </p:cNvSpPr>
          <p:nvPr>
            <p:ph type="title"/>
          </p:nvPr>
        </p:nvSpPr>
        <p:spPr/>
        <p:txBody>
          <a:bodyPr/>
          <a:lstStyle/>
          <a:p>
            <a:r>
              <a:rPr lang="en-US" dirty="0"/>
              <a:t>Who to Target &amp; What to Target</a:t>
            </a:r>
          </a:p>
        </p:txBody>
      </p:sp>
      <p:sp>
        <p:nvSpPr>
          <p:cNvPr id="3" name="TextBox 2">
            <a:extLst>
              <a:ext uri="{FF2B5EF4-FFF2-40B4-BE49-F238E27FC236}">
                <a16:creationId xmlns:a16="http://schemas.microsoft.com/office/drawing/2014/main" id="{465BB4C6-6C18-6BA8-84D4-562A128F8566}"/>
              </a:ext>
            </a:extLst>
          </p:cNvPr>
          <p:cNvSpPr txBox="1"/>
          <p:nvPr/>
        </p:nvSpPr>
        <p:spPr>
          <a:xfrm>
            <a:off x="628800" y="153419"/>
            <a:ext cx="10085208" cy="594532"/>
          </a:xfrm>
          <a:prstGeom prst="rect">
            <a:avLst/>
          </a:prstGeom>
          <a:noFill/>
        </p:spPr>
        <p:txBody>
          <a:bodyPr wrap="square" lIns="0" tIns="0" rIns="144000" bIns="0" rtlCol="0" anchor="ctr">
            <a:noAutofit/>
          </a:bodyPr>
          <a:lstStyle/>
          <a:p>
            <a:pPr>
              <a:lnSpc>
                <a:spcPct val="90000"/>
              </a:lnSpc>
              <a:spcAft>
                <a:spcPts val="600"/>
              </a:spcAft>
            </a:pPr>
            <a:r>
              <a:rPr lang="en-US" sz="1400" i="1" dirty="0">
                <a:solidFill>
                  <a:schemeClr val="bg2">
                    <a:lumMod val="50000"/>
                  </a:schemeClr>
                </a:solidFill>
              </a:rPr>
              <a:t>Q: Given a particular fare type/cabin meta, what kind of guests will be most interested?</a:t>
            </a:r>
          </a:p>
        </p:txBody>
      </p:sp>
      <p:sp>
        <p:nvSpPr>
          <p:cNvPr id="4" name="TextBox 3">
            <a:extLst>
              <a:ext uri="{FF2B5EF4-FFF2-40B4-BE49-F238E27FC236}">
                <a16:creationId xmlns:a16="http://schemas.microsoft.com/office/drawing/2014/main" id="{0140049A-3384-8FDD-DE06-A286A3E58E48}"/>
              </a:ext>
            </a:extLst>
          </p:cNvPr>
          <p:cNvSpPr txBox="1"/>
          <p:nvPr/>
        </p:nvSpPr>
        <p:spPr>
          <a:xfrm>
            <a:off x="607989" y="1251838"/>
            <a:ext cx="6551360" cy="584775"/>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r>
              <a:rPr lang="en-US" sz="1600" b="1" dirty="0">
                <a:solidFill>
                  <a:srgbClr val="575757"/>
                </a:solidFill>
              </a:rPr>
              <a:t>Cabin Meta &amp; Fare Type</a:t>
            </a:r>
          </a:p>
          <a:p>
            <a:endParaRPr lang="en-US" sz="1600" dirty="0">
              <a:solidFill>
                <a:srgbClr val="575757"/>
              </a:solidFill>
            </a:endParaRPr>
          </a:p>
        </p:txBody>
      </p:sp>
      <p:sp>
        <p:nvSpPr>
          <p:cNvPr id="11" name="TextBox 10">
            <a:extLst>
              <a:ext uri="{FF2B5EF4-FFF2-40B4-BE49-F238E27FC236}">
                <a16:creationId xmlns:a16="http://schemas.microsoft.com/office/drawing/2014/main" id="{E390BA0B-FE06-D41E-D682-55AC6835C0EE}"/>
              </a:ext>
            </a:extLst>
          </p:cNvPr>
          <p:cNvSpPr txBox="1"/>
          <p:nvPr/>
        </p:nvSpPr>
        <p:spPr>
          <a:xfrm>
            <a:off x="6980487" y="1423783"/>
            <a:ext cx="5426557" cy="594532"/>
          </a:xfrm>
          <a:prstGeom prst="rect">
            <a:avLst/>
          </a:prstGeom>
          <a:noFill/>
        </p:spPr>
        <p:txBody>
          <a:bodyPr wrap="square" lIns="0" tIns="0" rIns="144000" bIns="0" rtlCol="0" anchor="ctr">
            <a:noAutofit/>
          </a:bodyPr>
          <a:lstStyle/>
          <a:p>
            <a:pPr>
              <a:lnSpc>
                <a:spcPct val="90000"/>
              </a:lnSpc>
              <a:spcAft>
                <a:spcPts val="600"/>
              </a:spcAft>
            </a:pPr>
            <a:r>
              <a:rPr lang="en-US" sz="1400" i="1" dirty="0">
                <a:solidFill>
                  <a:schemeClr val="bg2">
                    <a:lumMod val="50000"/>
                  </a:schemeClr>
                </a:solidFill>
              </a:rPr>
              <a:t>Distribution of Cabin Meta for Each Mosaic Group</a:t>
            </a:r>
          </a:p>
        </p:txBody>
      </p:sp>
      <p:cxnSp>
        <p:nvCxnSpPr>
          <p:cNvPr id="18" name="Straight Connector 17">
            <a:extLst>
              <a:ext uri="{FF2B5EF4-FFF2-40B4-BE49-F238E27FC236}">
                <a16:creationId xmlns:a16="http://schemas.microsoft.com/office/drawing/2014/main" id="{605885D0-BF54-6007-360E-C41733167259}"/>
              </a:ext>
            </a:extLst>
          </p:cNvPr>
          <p:cNvCxnSpPr>
            <a:cxnSpLocks/>
          </p:cNvCxnSpPr>
          <p:nvPr/>
        </p:nvCxnSpPr>
        <p:spPr>
          <a:xfrm>
            <a:off x="4349702" y="4184800"/>
            <a:ext cx="2809647" cy="0"/>
          </a:xfrm>
          <a:prstGeom prst="line">
            <a:avLst/>
          </a:prstGeom>
          <a:ln w="9525" cap="rnd">
            <a:solidFill>
              <a:schemeClr val="tx1">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sp>
        <p:nvSpPr>
          <p:cNvPr id="13" name="TextBox 12">
            <a:extLst>
              <a:ext uri="{FF2B5EF4-FFF2-40B4-BE49-F238E27FC236}">
                <a16:creationId xmlns:a16="http://schemas.microsoft.com/office/drawing/2014/main" id="{7E5CF71C-67CE-9B1E-F245-9B8F723C307F}"/>
              </a:ext>
            </a:extLst>
          </p:cNvPr>
          <p:cNvSpPr txBox="1"/>
          <p:nvPr/>
        </p:nvSpPr>
        <p:spPr>
          <a:xfrm>
            <a:off x="1549157" y="1446375"/>
            <a:ext cx="5426557" cy="594532"/>
          </a:xfrm>
          <a:prstGeom prst="rect">
            <a:avLst/>
          </a:prstGeom>
          <a:noFill/>
        </p:spPr>
        <p:txBody>
          <a:bodyPr wrap="square" lIns="0" tIns="0" rIns="144000" bIns="0" rtlCol="0" anchor="ctr">
            <a:noAutofit/>
          </a:bodyPr>
          <a:lstStyle/>
          <a:p>
            <a:pPr>
              <a:lnSpc>
                <a:spcPct val="90000"/>
              </a:lnSpc>
              <a:spcAft>
                <a:spcPts val="600"/>
              </a:spcAft>
            </a:pPr>
            <a:r>
              <a:rPr lang="en-US" sz="1400" i="1" dirty="0">
                <a:solidFill>
                  <a:schemeClr val="bg2">
                    <a:lumMod val="50000"/>
                  </a:schemeClr>
                </a:solidFill>
              </a:rPr>
              <a:t>Distribution of Income for Each Cabin Meta</a:t>
            </a:r>
          </a:p>
        </p:txBody>
      </p:sp>
      <p:sp>
        <p:nvSpPr>
          <p:cNvPr id="19" name="TextBox 18">
            <a:extLst>
              <a:ext uri="{FF2B5EF4-FFF2-40B4-BE49-F238E27FC236}">
                <a16:creationId xmlns:a16="http://schemas.microsoft.com/office/drawing/2014/main" id="{B67231DE-7B9C-93F8-948D-E07861ED810F}"/>
              </a:ext>
            </a:extLst>
          </p:cNvPr>
          <p:cNvSpPr txBox="1"/>
          <p:nvPr/>
        </p:nvSpPr>
        <p:spPr>
          <a:xfrm>
            <a:off x="6687189" y="4618946"/>
            <a:ext cx="5189351" cy="1815882"/>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r>
              <a:rPr lang="en-US" sz="1600" b="1" dirty="0">
                <a:solidFill>
                  <a:srgbClr val="575757"/>
                </a:solidFill>
              </a:rPr>
              <a:t>Insights:</a:t>
            </a:r>
          </a:p>
          <a:p>
            <a:r>
              <a:rPr lang="en-US" sz="1600" b="1" dirty="0">
                <a:solidFill>
                  <a:srgbClr val="575757"/>
                </a:solidFill>
              </a:rPr>
              <a:t>Income</a:t>
            </a:r>
            <a:r>
              <a:rPr lang="en-US" sz="1600" dirty="0">
                <a:solidFill>
                  <a:srgbClr val="575757"/>
                </a:solidFill>
              </a:rPr>
              <a:t>: For Cabin Meta, the income level of guests gradually increases from “Inside” to “Suite”. The same phenomenon is also seen in Fare Type.</a:t>
            </a:r>
          </a:p>
          <a:p>
            <a:r>
              <a:rPr lang="en-US" sz="1600" b="1" dirty="0">
                <a:solidFill>
                  <a:srgbClr val="575757"/>
                </a:solidFill>
              </a:rPr>
              <a:t>Mosaic Group</a:t>
            </a:r>
            <a:r>
              <a:rPr lang="en-US" sz="1600" dirty="0">
                <a:solidFill>
                  <a:srgbClr val="575757"/>
                </a:solidFill>
              </a:rPr>
              <a:t>: Certain mosaic groups (e.g. City Prosperity, Municipal Challenge) have strong preference for certain cabin </a:t>
            </a:r>
            <a:r>
              <a:rPr lang="en-US" sz="1600" dirty="0" err="1">
                <a:solidFill>
                  <a:srgbClr val="575757"/>
                </a:solidFill>
              </a:rPr>
              <a:t>metas</a:t>
            </a:r>
            <a:r>
              <a:rPr lang="en-US" sz="1600" dirty="0">
                <a:solidFill>
                  <a:srgbClr val="575757"/>
                </a:solidFill>
              </a:rPr>
              <a:t> (e.g. Balcony).</a:t>
            </a:r>
          </a:p>
        </p:txBody>
      </p:sp>
      <p:pic>
        <p:nvPicPr>
          <p:cNvPr id="6" name="Picture 5">
            <a:extLst>
              <a:ext uri="{FF2B5EF4-FFF2-40B4-BE49-F238E27FC236}">
                <a16:creationId xmlns:a16="http://schemas.microsoft.com/office/drawing/2014/main" id="{B1DCC571-84C2-9CED-7008-FA21C57ECE61}"/>
              </a:ext>
            </a:extLst>
          </p:cNvPr>
          <p:cNvPicPr>
            <a:picLocks noChangeAspect="1"/>
          </p:cNvPicPr>
          <p:nvPr/>
        </p:nvPicPr>
        <p:blipFill>
          <a:blip r:embed="rId2"/>
          <a:stretch>
            <a:fillRect/>
          </a:stretch>
        </p:blipFill>
        <p:spPr>
          <a:xfrm>
            <a:off x="6603795" y="1906985"/>
            <a:ext cx="4775445" cy="2548896"/>
          </a:xfrm>
          <a:prstGeom prst="rect">
            <a:avLst/>
          </a:prstGeom>
        </p:spPr>
      </p:pic>
      <p:pic>
        <p:nvPicPr>
          <p:cNvPr id="9" name="Picture 8">
            <a:extLst>
              <a:ext uri="{FF2B5EF4-FFF2-40B4-BE49-F238E27FC236}">
                <a16:creationId xmlns:a16="http://schemas.microsoft.com/office/drawing/2014/main" id="{3B8431AC-1EE0-009A-F577-E9D806A700A5}"/>
              </a:ext>
            </a:extLst>
          </p:cNvPr>
          <p:cNvPicPr>
            <a:picLocks noChangeAspect="1"/>
          </p:cNvPicPr>
          <p:nvPr/>
        </p:nvPicPr>
        <p:blipFill>
          <a:blip r:embed="rId3"/>
          <a:stretch>
            <a:fillRect/>
          </a:stretch>
        </p:blipFill>
        <p:spPr>
          <a:xfrm>
            <a:off x="680486" y="4784441"/>
            <a:ext cx="1795296" cy="1352620"/>
          </a:xfrm>
          <a:prstGeom prst="rect">
            <a:avLst/>
          </a:prstGeom>
        </p:spPr>
      </p:pic>
      <p:pic>
        <p:nvPicPr>
          <p:cNvPr id="16" name="Picture 15">
            <a:extLst>
              <a:ext uri="{FF2B5EF4-FFF2-40B4-BE49-F238E27FC236}">
                <a16:creationId xmlns:a16="http://schemas.microsoft.com/office/drawing/2014/main" id="{32743DA8-FDC9-4AF3-83B4-1335FCB7A39F}"/>
              </a:ext>
            </a:extLst>
          </p:cNvPr>
          <p:cNvPicPr>
            <a:picLocks noChangeAspect="1"/>
          </p:cNvPicPr>
          <p:nvPr/>
        </p:nvPicPr>
        <p:blipFill>
          <a:blip r:embed="rId4"/>
          <a:stretch>
            <a:fillRect/>
          </a:stretch>
        </p:blipFill>
        <p:spPr>
          <a:xfrm>
            <a:off x="674143" y="1935516"/>
            <a:ext cx="5727994" cy="2457576"/>
          </a:xfrm>
          <a:prstGeom prst="rect">
            <a:avLst/>
          </a:prstGeom>
        </p:spPr>
      </p:pic>
      <p:pic>
        <p:nvPicPr>
          <p:cNvPr id="21" name="Picture 20">
            <a:extLst>
              <a:ext uri="{FF2B5EF4-FFF2-40B4-BE49-F238E27FC236}">
                <a16:creationId xmlns:a16="http://schemas.microsoft.com/office/drawing/2014/main" id="{8B5987C5-2CBA-812D-A98F-C70354A01038}"/>
              </a:ext>
            </a:extLst>
          </p:cNvPr>
          <p:cNvPicPr>
            <a:picLocks noChangeAspect="1"/>
          </p:cNvPicPr>
          <p:nvPr/>
        </p:nvPicPr>
        <p:blipFill>
          <a:blip r:embed="rId5"/>
          <a:stretch>
            <a:fillRect/>
          </a:stretch>
        </p:blipFill>
        <p:spPr>
          <a:xfrm>
            <a:off x="5073318" y="5155288"/>
            <a:ext cx="1482896" cy="901746"/>
          </a:xfrm>
          <a:prstGeom prst="rect">
            <a:avLst/>
          </a:prstGeom>
        </p:spPr>
      </p:pic>
      <p:sp>
        <p:nvSpPr>
          <p:cNvPr id="22" name="TextBox 21">
            <a:extLst>
              <a:ext uri="{FF2B5EF4-FFF2-40B4-BE49-F238E27FC236}">
                <a16:creationId xmlns:a16="http://schemas.microsoft.com/office/drawing/2014/main" id="{8660249A-C0AE-A5CB-2E86-A5B9FB72F58F}"/>
              </a:ext>
            </a:extLst>
          </p:cNvPr>
          <p:cNvSpPr txBox="1"/>
          <p:nvPr/>
        </p:nvSpPr>
        <p:spPr>
          <a:xfrm>
            <a:off x="620449" y="4455880"/>
            <a:ext cx="1283865" cy="553998"/>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r>
              <a:rPr lang="en-US" sz="1400" b="1" dirty="0">
                <a:solidFill>
                  <a:srgbClr val="575757"/>
                </a:solidFill>
              </a:rPr>
              <a:t>Cabin Meta</a:t>
            </a:r>
          </a:p>
          <a:p>
            <a:endParaRPr lang="en-US" sz="1600" dirty="0">
              <a:solidFill>
                <a:srgbClr val="575757"/>
              </a:solidFill>
            </a:endParaRPr>
          </a:p>
        </p:txBody>
      </p:sp>
      <p:sp>
        <p:nvSpPr>
          <p:cNvPr id="23" name="TextBox 22">
            <a:extLst>
              <a:ext uri="{FF2B5EF4-FFF2-40B4-BE49-F238E27FC236}">
                <a16:creationId xmlns:a16="http://schemas.microsoft.com/office/drawing/2014/main" id="{6BF3F808-9FFC-ED28-2EC2-1041CA38BC67}"/>
              </a:ext>
            </a:extLst>
          </p:cNvPr>
          <p:cNvSpPr txBox="1"/>
          <p:nvPr/>
        </p:nvSpPr>
        <p:spPr>
          <a:xfrm>
            <a:off x="2512198" y="4491995"/>
            <a:ext cx="1283865" cy="553998"/>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r>
              <a:rPr lang="en-US" sz="1400" b="1" dirty="0">
                <a:solidFill>
                  <a:srgbClr val="575757"/>
                </a:solidFill>
              </a:rPr>
              <a:t>Fare Type</a:t>
            </a:r>
          </a:p>
          <a:p>
            <a:endParaRPr lang="en-US" sz="1600" dirty="0">
              <a:solidFill>
                <a:srgbClr val="575757"/>
              </a:solidFill>
            </a:endParaRPr>
          </a:p>
        </p:txBody>
      </p:sp>
      <p:pic>
        <p:nvPicPr>
          <p:cNvPr id="25" name="Picture 24">
            <a:extLst>
              <a:ext uri="{FF2B5EF4-FFF2-40B4-BE49-F238E27FC236}">
                <a16:creationId xmlns:a16="http://schemas.microsoft.com/office/drawing/2014/main" id="{1A99EA17-75B0-4C34-E676-E24FEFA94D0B}"/>
              </a:ext>
            </a:extLst>
          </p:cNvPr>
          <p:cNvPicPr>
            <a:picLocks noChangeAspect="1"/>
          </p:cNvPicPr>
          <p:nvPr/>
        </p:nvPicPr>
        <p:blipFill>
          <a:blip r:embed="rId6"/>
          <a:stretch>
            <a:fillRect/>
          </a:stretch>
        </p:blipFill>
        <p:spPr>
          <a:xfrm>
            <a:off x="2569715" y="4784441"/>
            <a:ext cx="2446086" cy="1588571"/>
          </a:xfrm>
          <a:prstGeom prst="rect">
            <a:avLst/>
          </a:prstGeom>
        </p:spPr>
      </p:pic>
    </p:spTree>
    <p:extLst>
      <p:ext uri="{BB962C8B-B14F-4D97-AF65-F5344CB8AC3E}">
        <p14:creationId xmlns:p14="http://schemas.microsoft.com/office/powerpoint/2010/main" val="36129305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2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5.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2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7.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2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2.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5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9.xml><?xml version="1.0" encoding="utf-8"?>
<p:tagLst xmlns:a="http://schemas.openxmlformats.org/drawingml/2006/main" xmlns:r="http://schemas.openxmlformats.org/officeDocument/2006/relationships" xmlns:p="http://schemas.openxmlformats.org/presentationml/2006/main">
  <p:tag name="BCG_MODE" val="Documentation"/>
  <p:tag name="BCG_DESIGN" val="Four heading"/>
</p:tagLst>
</file>

<file path=ppt/tags/tag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BCG Grid 16:9">
  <a:themeElements>
    <a:clrScheme name="The Boston Consulting Group">
      <a:dk1>
        <a:srgbClr val="575757"/>
      </a:dk1>
      <a:lt1>
        <a:sysClr val="window" lastClr="FFFFFF"/>
      </a:lt1>
      <a:dk2>
        <a:srgbClr val="29BA74"/>
      </a:dk2>
      <a:lt2>
        <a:srgbClr val="F2F2F2"/>
      </a:lt2>
      <a:accent1>
        <a:srgbClr val="03522D"/>
      </a:accent1>
      <a:accent2>
        <a:srgbClr val="197A56"/>
      </a:accent2>
      <a:accent3>
        <a:srgbClr val="D4DF33"/>
      </a:accent3>
      <a:accent4>
        <a:srgbClr val="3EAD92"/>
      </a:accent4>
      <a:accent5>
        <a:srgbClr val="6E6F73"/>
      </a:accent5>
      <a:accent6>
        <a:srgbClr val="295E7E"/>
      </a:accent6>
      <a:hlink>
        <a:srgbClr val="2E3558"/>
      </a:hlink>
      <a:folHlink>
        <a:srgbClr val="2E3558"/>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29BA74"/>
        </a:solidFill>
        <a:ln w="9525" cap="rnd" cmpd="sng" algn="ctr">
          <a:solidFill>
            <a:srgbClr val="29BA74"/>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lnSpc>
            <a:spcPct val="90000"/>
          </a:lnSpc>
          <a:spcAft>
            <a:spcPts val="1000"/>
          </a:spcAft>
          <a:defRPr sz="1200" dirty="0" err="1"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chemeClr val="tx1">
              <a:lumMod val="60000"/>
              <a:lumOff val="40000"/>
            </a:schemeClr>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dirty="0" err="1" smtClean="0">
            <a:solidFill>
              <a:srgbClr val="575757"/>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lank.potx" id="{7DE1840D-40E5-4DD3-8666-4EC8EEE59EF1}" vid="{D291E9DA-DAB5-4DDA-B239-C416CC34F61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421</TotalTime>
  <Words>1310</Words>
  <Application>Microsoft Office PowerPoint</Application>
  <PresentationFormat>Widescreen</PresentationFormat>
  <Paragraphs>145</Paragraphs>
  <Slides>11</Slides>
  <Notes>2</Notes>
  <HiddenSlides>0</HiddenSlides>
  <MMClips>0</MMClips>
  <ScaleCrop>false</ScaleCrop>
  <HeadingPairs>
    <vt:vector size="8" baseType="variant">
      <vt:variant>
        <vt:lpstr>Fonts Used</vt:lpstr>
      </vt:variant>
      <vt:variant>
        <vt:i4>4</vt:i4>
      </vt:variant>
      <vt:variant>
        <vt:lpstr>Theme</vt:lpstr>
      </vt:variant>
      <vt:variant>
        <vt:i4>2</vt:i4>
      </vt:variant>
      <vt:variant>
        <vt:lpstr>Embedded OLE Servers</vt:lpstr>
      </vt:variant>
      <vt:variant>
        <vt:i4>1</vt:i4>
      </vt:variant>
      <vt:variant>
        <vt:lpstr>Slide Titles</vt:lpstr>
      </vt:variant>
      <vt:variant>
        <vt:i4>11</vt:i4>
      </vt:variant>
    </vt:vector>
  </HeadingPairs>
  <TitlesOfParts>
    <vt:vector size="18" baseType="lpstr">
      <vt:lpstr>Arial</vt:lpstr>
      <vt:lpstr>Calibri</vt:lpstr>
      <vt:lpstr>Calibri Light</vt:lpstr>
      <vt:lpstr>Trebuchet MS</vt:lpstr>
      <vt:lpstr>Office Theme</vt:lpstr>
      <vt:lpstr>BCG Grid 16:9</vt:lpstr>
      <vt:lpstr>think-cell Slide</vt:lpstr>
      <vt:lpstr>PowerPoint Presentation</vt:lpstr>
      <vt:lpstr>Overview </vt:lpstr>
      <vt:lpstr>Data Cleaning</vt:lpstr>
      <vt:lpstr>When to Target</vt:lpstr>
      <vt:lpstr>Who to Target &amp; What to Target</vt:lpstr>
      <vt:lpstr>Who to Target &amp; What to Target</vt:lpstr>
      <vt:lpstr>Who to Target &amp; What to Target</vt:lpstr>
      <vt:lpstr>Who to Target &amp; What to Target</vt:lpstr>
      <vt:lpstr>Who to Target &amp; What to Target</vt:lpstr>
      <vt:lpstr>Personalized Communication Strategy for “Coastals”</vt:lpstr>
      <vt:lpstr>Other Considerations</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Xu Zhen</dc:creator>
  <cp:lastModifiedBy>Xu Zhen</cp:lastModifiedBy>
  <cp:revision>1</cp:revision>
  <dcterms:created xsi:type="dcterms:W3CDTF">2023-04-04T07:01:05Z</dcterms:created>
  <dcterms:modified xsi:type="dcterms:W3CDTF">2023-04-04T14:02:14Z</dcterms:modified>
</cp:coreProperties>
</file>